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heme/themeOverride1.xml" ContentType="application/vnd.openxmlformats-officedocument.themeOverride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charts/chart13.xml" ContentType="application/vnd.openxmlformats-officedocument.drawingml.chart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charts/chart14.xml" ContentType="application/vnd.openxmlformats-officedocument.drawingml.chart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Default Extension="wdp" ContentType="image/vnd.ms-photo"/>
  <Override PartName="/ppt/slideLayouts/slideLayout10.xml" ContentType="application/vnd.openxmlformats-officedocument.presentationml.slideLayout+xml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Override PartName="/ppt/theme/themeOverride3.xml" ContentType="application/vnd.openxmlformats-officedocument.themeOverride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12.xml" ContentType="application/vnd.openxmlformats-officedocument.drawingml.chart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rawings/drawing2.xml" ContentType="application/vnd.openxmlformats-officedocument.drawingml.chartshape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charts/chart17.xml" ContentType="application/vnd.openxmlformats-officedocument.drawingml.chart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notesSlides/notesSlide3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tl="1" saveSubsetFonts="1">
  <p:sldMasterIdLst>
    <p:sldMasterId id="2147483648" r:id="rId4"/>
  </p:sldMasterIdLst>
  <p:notesMasterIdLst>
    <p:notesMasterId r:id="rId52"/>
  </p:notesMasterIdLst>
  <p:handoutMasterIdLst>
    <p:handoutMasterId r:id="rId53"/>
  </p:handoutMasterIdLst>
  <p:sldIdLst>
    <p:sldId id="260" r:id="rId5"/>
    <p:sldId id="257" r:id="rId6"/>
    <p:sldId id="259" r:id="rId7"/>
    <p:sldId id="258" r:id="rId8"/>
    <p:sldId id="263" r:id="rId9"/>
    <p:sldId id="264" r:id="rId10"/>
    <p:sldId id="271" r:id="rId11"/>
    <p:sldId id="266" r:id="rId12"/>
    <p:sldId id="267" r:id="rId13"/>
    <p:sldId id="269" r:id="rId14"/>
    <p:sldId id="268" r:id="rId15"/>
    <p:sldId id="270" r:id="rId16"/>
    <p:sldId id="281" r:id="rId17"/>
    <p:sldId id="282" r:id="rId18"/>
    <p:sldId id="335" r:id="rId19"/>
    <p:sldId id="336" r:id="rId20"/>
    <p:sldId id="338" r:id="rId21"/>
    <p:sldId id="339" r:id="rId22"/>
    <p:sldId id="340" r:id="rId23"/>
    <p:sldId id="341" r:id="rId24"/>
    <p:sldId id="342" r:id="rId25"/>
    <p:sldId id="343" r:id="rId26"/>
    <p:sldId id="353" r:id="rId27"/>
    <p:sldId id="345" r:id="rId28"/>
    <p:sldId id="346" r:id="rId29"/>
    <p:sldId id="347" r:id="rId30"/>
    <p:sldId id="348" r:id="rId31"/>
    <p:sldId id="349" r:id="rId32"/>
    <p:sldId id="350" r:id="rId33"/>
    <p:sldId id="351" r:id="rId34"/>
    <p:sldId id="352" r:id="rId35"/>
    <p:sldId id="319" r:id="rId36"/>
    <p:sldId id="320" r:id="rId37"/>
    <p:sldId id="321" r:id="rId38"/>
    <p:sldId id="322" r:id="rId39"/>
    <p:sldId id="323" r:id="rId40"/>
    <p:sldId id="324" r:id="rId41"/>
    <p:sldId id="325" r:id="rId42"/>
    <p:sldId id="326" r:id="rId43"/>
    <p:sldId id="327" r:id="rId44"/>
    <p:sldId id="328" r:id="rId45"/>
    <p:sldId id="329" r:id="rId46"/>
    <p:sldId id="330" r:id="rId47"/>
    <p:sldId id="331" r:id="rId48"/>
    <p:sldId id="332" r:id="rId49"/>
    <p:sldId id="333" r:id="rId50"/>
    <p:sldId id="334" r:id="rId51"/>
  </p:sldIdLst>
  <p:sldSz cx="9144000" cy="6858000" type="screen4x3"/>
  <p:notesSz cx="6858000" cy="9926638"/>
  <p:custDataLst>
    <p:tags r:id="rId54"/>
  </p:custDataLst>
  <p:defaultTextStyle>
    <a:defPPr>
      <a:defRPr lang="he-IL"/>
    </a:defPPr>
    <a:lvl1pPr marL="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4BACC6"/>
    <a:srgbClr val="45C1A4"/>
    <a:srgbClr val="F79646"/>
    <a:srgbClr val="B9D533"/>
    <a:srgbClr val="B9D5FF"/>
    <a:srgbClr val="F4C20D"/>
    <a:srgbClr val="3CBA54"/>
    <a:srgbClr val="4885ED"/>
    <a:srgbClr val="DB323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7043" autoAdjust="0"/>
    <p:restoredTop sz="94933" autoAdjust="0"/>
  </p:normalViewPr>
  <p:slideViewPr>
    <p:cSldViewPr>
      <p:cViewPr>
        <p:scale>
          <a:sx n="50" d="100"/>
          <a:sy n="50" d="100"/>
        </p:scale>
        <p:origin x="-1997" y="-739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-494" y="0"/>
      </p:cViewPr>
      <p:guideLst>
        <p:guide orient="horz" pos="3126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54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handoutMaster" Target="handoutMasters/handoutMaster1.xml"/><Relationship Id="rId58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viewProps" Target="viewProps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1.xlsx"/><Relationship Id="rId1" Type="http://schemas.openxmlformats.org/officeDocument/2006/relationships/themeOverride" Target="../theme/themeOverride1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5.xlsx"/><Relationship Id="rId1" Type="http://schemas.openxmlformats.org/officeDocument/2006/relationships/themeOverride" Target="../theme/themeOverride2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16.xlsx"/><Relationship Id="rId1" Type="http://schemas.openxmlformats.org/officeDocument/2006/relationships/themeOverride" Target="../theme/themeOverride3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&#1514;&#1512;&#1513;&#1497;&#1501;%20&#1489;-%20Microsoft%20PowerPoint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&#1514;&#1512;&#1513;&#1497;&#1501;%20&#1489;-%20Microsoft%20PowerPoint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solidFill>
                <a:schemeClr val="bg1"/>
              </a:solidFill>
            </a:ln>
          </c:spPr>
          <c:dPt>
            <c:idx val="0"/>
            <c:spPr>
              <a:solidFill>
                <a:srgbClr val="5A7E3C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83C6-4913-8EEF-1073F2A089B4}"/>
              </c:ext>
            </c:extLst>
          </c:dPt>
          <c:dPt>
            <c:idx val="1"/>
            <c:spPr>
              <a:solidFill>
                <a:srgbClr val="105864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83C6-4913-8EEF-1073F2A089B4}"/>
              </c:ext>
            </c:extLst>
          </c:dPt>
          <c:dPt>
            <c:idx val="2"/>
            <c:spPr>
              <a:solidFill>
                <a:srgbClr val="E65B3C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83C6-4913-8EEF-1073F2A089B4}"/>
              </c:ext>
            </c:extLst>
          </c:dPt>
          <c:dPt>
            <c:idx val="3"/>
            <c:spPr>
              <a:solidFill>
                <a:srgbClr val="9FAAA4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83C6-4913-8EEF-1073F2A089B4}"/>
              </c:ext>
            </c:extLst>
          </c:dPt>
          <c:dPt>
            <c:idx val="4"/>
            <c:spPr>
              <a:solidFill>
                <a:srgbClr val="F09134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83C6-4913-8EEF-1073F2A089B4}"/>
              </c:ext>
            </c:extLst>
          </c:dPt>
          <c:dPt>
            <c:idx val="5"/>
            <c:spPr>
              <a:solidFill>
                <a:srgbClr val="105864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83C6-4913-8EEF-1073F2A089B4}"/>
              </c:ext>
            </c:extLst>
          </c:dPt>
          <c:dPt>
            <c:idx val="6"/>
            <c:spPr>
              <a:solidFill>
                <a:srgbClr val="E65B3C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83C6-4913-8EEF-1073F2A089B4}"/>
              </c:ext>
            </c:extLst>
          </c:dPt>
          <c:dPt>
            <c:idx val="7"/>
            <c:spPr>
              <a:solidFill>
                <a:srgbClr val="63A099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83C6-4913-8EEF-1073F2A089B4}"/>
              </c:ext>
            </c:extLst>
          </c:dPt>
          <c:dPt>
            <c:idx val="8"/>
            <c:spPr>
              <a:solidFill>
                <a:srgbClr val="F09134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83C6-4913-8EEF-1073F2A089B4}"/>
              </c:ext>
            </c:extLst>
          </c:dPt>
          <c:dLbls>
            <c:dLbl>
              <c:idx val="0"/>
              <c:layout>
                <c:manualLayout>
                  <c:x val="-7.441502064466482E-2"/>
                  <c:y val="-3.1810935586690958E-2"/>
                </c:manualLayout>
              </c:layout>
              <c:tx>
                <c:rich>
                  <a:bodyPr/>
                  <a:lstStyle/>
                  <a:p>
                    <a:r>
                      <a:rPr lang="en-US" sz="1400" dirty="0"/>
                      <a:t>Ground Forces
22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8.6529095851345505E-3"/>
                  <c:y val="-2.2267653690644432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Human </a:t>
                    </a:r>
                    <a:endParaRPr lang="en-US" sz="1200" dirty="0" smtClean="0"/>
                  </a:p>
                  <a:p>
                    <a:r>
                      <a:rPr lang="en-US" sz="1200" dirty="0" smtClean="0"/>
                      <a:t>Resources</a:t>
                    </a:r>
                  </a:p>
                  <a:p>
                    <a:r>
                      <a:rPr lang="en-US" sz="1200" dirty="0" smtClean="0"/>
                      <a:t>Directorate </a:t>
                    </a:r>
                    <a:r>
                      <a:rPr lang="en-US" sz="1200" dirty="0"/>
                      <a:t>
17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400" b="0" i="0" dirty="0" smtClean="0"/>
                      <a:t>Chief Financial Advisor</a:t>
                    </a:r>
                  </a:p>
                  <a:p>
                    <a:r>
                      <a:rPr lang="en-US" sz="1400" dirty="0" smtClean="0"/>
                      <a:t>15</a:t>
                    </a:r>
                    <a:r>
                      <a:rPr lang="en-US" sz="1400" dirty="0"/>
                      <a:t>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-1.3626629267928438E-7"/>
                  <c:y val="4.7716400765666659E-3"/>
                </c:manualLayout>
              </c:layout>
              <c:tx>
                <c:rich>
                  <a:bodyPr/>
                  <a:lstStyle/>
                  <a:p>
                    <a:r>
                      <a:rPr lang="en-US" sz="1300" dirty="0"/>
                      <a:t>Intelligence</a:t>
                    </a:r>
                    <a:r>
                      <a:rPr lang="en-US" sz="1400" dirty="0"/>
                      <a:t> 
6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3.4611638340538188E-3"/>
                  <c:y val="3.1809681444807543E-3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/>
                      <a:t>Computer </a:t>
                    </a:r>
                    <a:endParaRPr lang="en-US" sz="1100" dirty="0" smtClean="0"/>
                  </a:p>
                  <a:p>
                    <a:r>
                      <a:rPr lang="en-US" sz="1100" dirty="0" smtClean="0"/>
                      <a:t>Service </a:t>
                    </a:r>
                  </a:p>
                  <a:p>
                    <a:r>
                      <a:rPr lang="en-US" sz="1100" b="1" dirty="0" smtClean="0"/>
                      <a:t>Directorate</a:t>
                    </a:r>
                    <a:r>
                      <a:rPr lang="en-US" sz="1100" b="1" baseline="0" dirty="0" smtClean="0"/>
                      <a:t> </a:t>
                    </a:r>
                  </a:p>
                  <a:p>
                    <a:r>
                      <a:rPr lang="en-US" sz="1100" dirty="0" smtClean="0"/>
                      <a:t>6</a:t>
                    </a:r>
                    <a:r>
                      <a:rPr lang="en-US" sz="1100" dirty="0"/>
                      <a:t>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6.9223274476826243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800" dirty="0" smtClean="0"/>
                      <a:t>Navy</a:t>
                    </a:r>
                    <a:r>
                      <a:rPr lang="en-US" sz="1800" dirty="0"/>
                      <a:t>
6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>
                <c:manualLayout>
                  <c:x val="-1.7305819170269103E-3"/>
                  <c:y val="1.431492022969999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Commands
5%</a:t>
                    </a:r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F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8"/>
              <c:layout>
                <c:manualLayout>
                  <c:x val="1.5575100667774681E-2"/>
                  <c:y val="7.9527338966727326E-3"/>
                </c:manualLayout>
              </c:layout>
              <c:spPr/>
              <c:txPr>
                <a:bodyPr/>
                <a:lstStyle/>
                <a:p>
                  <a:pPr>
                    <a:defRPr lang="he-IL" sz="1600" b="1" kern="1200" smtId="4294967295">
                      <a:ln>
                        <a:solidFill>
                          <a:schemeClr val="bg1"/>
                        </a:solidFill>
                      </a:ln>
                      <a:solidFill>
                        <a:schemeClr val="bg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ea typeface="+mn-ea"/>
                      <a:cs typeface="Lucida Sans Unicode" panose="020B0602030504020204" pitchFamily="34" charset="0"/>
                    </a:defRPr>
                  </a:pPr>
                  <a:endParaRPr lang="en-US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11-83C6-4913-8EEF-1073F2A089B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he-IL" sz="1800" b="1" kern="12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ea typeface="+mn-ea"/>
                    <a:cs typeface="Lucida Sans Unicode" panose="020B0602030504020204" pitchFamily="34" charset="0"/>
                  </a:defRPr>
                </a:pPr>
                <a:endParaRPr lang="en-US"/>
              </a:p>
            </c:txPr>
            <c:showVal val="1"/>
            <c:showCatName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גיליון1!$A$2:$A$23</c:f>
              <c:strCache>
                <c:ptCount val="9"/>
                <c:pt idx="0">
                  <c:v>Ground Forces</c:v>
                </c:pt>
                <c:pt idx="1">
                  <c:v>Human resorses Directorate </c:v>
                </c:pt>
                <c:pt idx="2">
                  <c:v>יועכ"ל</c:v>
                </c:pt>
                <c:pt idx="3">
                  <c:v>Others </c:v>
                </c:pt>
                <c:pt idx="4">
                  <c:v>Intelligence </c:v>
                </c:pt>
                <c:pt idx="5">
                  <c:v>Computer Service Directorate
 </c:v>
                </c:pt>
                <c:pt idx="6">
                  <c:v>Navi</c:v>
                </c:pt>
                <c:pt idx="7">
                  <c:v>Commands</c:v>
                </c:pt>
                <c:pt idx="8">
                  <c:v>Air Force</c:v>
                </c:pt>
              </c:strCache>
            </c:strRef>
          </c:cat>
          <c:val>
            <c:numRef>
              <c:f>גיליון1!$B$2:$B$23</c:f>
              <c:numCache>
                <c:formatCode>0%</c:formatCode>
                <c:ptCount val="22"/>
                <c:pt idx="0">
                  <c:v>0.22</c:v>
                </c:pt>
                <c:pt idx="1">
                  <c:v>0.17</c:v>
                </c:pt>
                <c:pt idx="2">
                  <c:v>0.15000000000000005</c:v>
                </c:pt>
                <c:pt idx="3">
                  <c:v>8.0000000000000029E-2</c:v>
                </c:pt>
                <c:pt idx="4">
                  <c:v>6.0000000000000019E-2</c:v>
                </c:pt>
                <c:pt idx="5">
                  <c:v>6.0000000000000019E-2</c:v>
                </c:pt>
                <c:pt idx="6">
                  <c:v>6.0000000000000019E-2</c:v>
                </c:pt>
                <c:pt idx="7">
                  <c:v>0.05</c:v>
                </c:pt>
                <c:pt idx="8">
                  <c:v>0.140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83C6-4913-8EEF-1073F2A089B4}"/>
            </c:ext>
          </c:extLst>
        </c:ser>
        <c:firstSliceAng val="0"/>
        <c:holeSize val="70"/>
      </c:doughnut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177-4799-A77D-FE0ED5908D24}"/>
              </c:ext>
            </c:extLst>
          </c:dPt>
          <c:dPt>
            <c:idx val="1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177-4799-A77D-FE0ED5908D24}"/>
              </c:ext>
            </c:extLst>
          </c:dPt>
          <c:dPt>
            <c:idx val="2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177-4799-A77D-FE0ED5908D24}"/>
              </c:ext>
            </c:extLst>
          </c:dPt>
          <c:dPt>
            <c:idx val="3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177-4799-A77D-FE0ED5908D24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42</c:v>
                </c:pt>
                <c:pt idx="1">
                  <c:v>72.400000000000006</c:v>
                </c:pt>
                <c:pt idx="2">
                  <c:v>39</c:v>
                </c:pt>
                <c:pt idx="3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E177-4799-A77D-FE0ED5908D24}"/>
            </c:ext>
          </c:extLst>
        </c:ser>
        <c:firstSliceAng val="0"/>
      </c:pie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7257072446495882E-2"/>
          <c:y val="3.441352044894741E-2"/>
          <c:w val="0.96472614153982894"/>
          <c:h val="0.89447242989261244"/>
        </c:manualLayout>
      </c:layout>
      <c:lineChart>
        <c:grouping val="standard"/>
        <c:ser>
          <c:idx val="0"/>
          <c:order val="0"/>
          <c:tx>
            <c:strRef>
              <c:f>גיליון1!$K$67</c:f>
              <c:strCache>
                <c:ptCount val="1"/>
                <c:pt idx="0">
                  <c:v>ביטחון</c:v>
                </c:pt>
              </c:strCache>
            </c:strRef>
          </c:tx>
          <c:spPr>
            <a:ln w="63500">
              <a:solidFill>
                <a:srgbClr val="F4C20D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K$68:$K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9.02069367119309</c:v>
                </c:pt>
                <c:pt idx="2">
                  <c:v>113.35307912092591</c:v>
                </c:pt>
                <c:pt idx="3">
                  <c:v>118.14127775889898</c:v>
                </c:pt>
                <c:pt idx="4">
                  <c:v>124.69575563588187</c:v>
                </c:pt>
                <c:pt idx="5">
                  <c:v>121.70757549450498</c:v>
                </c:pt>
                <c:pt idx="6">
                  <c:v>134.930425788261</c:v>
                </c:pt>
                <c:pt idx="7">
                  <c:v>132.30753934499717</c:v>
                </c:pt>
                <c:pt idx="8">
                  <c:v>123.064878976137</c:v>
                </c:pt>
                <c:pt idx="9">
                  <c:v>126.083550269051</c:v>
                </c:pt>
                <c:pt idx="10">
                  <c:v>129.118894997750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13-4631-85F8-16C64D2C0885}"/>
            </c:ext>
          </c:extLst>
        </c:ser>
        <c:ser>
          <c:idx val="1"/>
          <c:order val="1"/>
          <c:tx>
            <c:strRef>
              <c:f>גיליון1!$L$67</c:f>
              <c:strCache>
                <c:ptCount val="1"/>
                <c:pt idx="0">
                  <c:v>חינוך</c:v>
                </c:pt>
              </c:strCache>
            </c:strRef>
          </c:tx>
          <c:spPr>
            <a:ln w="63500">
              <a:solidFill>
                <a:srgbClr val="DB3236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L$68:$L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9.54770137443892</c:v>
                </c:pt>
                <c:pt idx="2">
                  <c:v>122.19242265863798</c:v>
                </c:pt>
                <c:pt idx="3">
                  <c:v>133.24233810392516</c:v>
                </c:pt>
                <c:pt idx="4">
                  <c:v>153.652500050767</c:v>
                </c:pt>
                <c:pt idx="5">
                  <c:v>162.861713222834</c:v>
                </c:pt>
                <c:pt idx="6">
                  <c:v>175.479410323091</c:v>
                </c:pt>
                <c:pt idx="7">
                  <c:v>180.62308328126679</c:v>
                </c:pt>
                <c:pt idx="8">
                  <c:v>186.98393497371001</c:v>
                </c:pt>
                <c:pt idx="9">
                  <c:v>192.12419404561317</c:v>
                </c:pt>
                <c:pt idx="10">
                  <c:v>209.227941518757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5813-4631-85F8-16C64D2C0885}"/>
            </c:ext>
          </c:extLst>
        </c:ser>
        <c:ser>
          <c:idx val="2"/>
          <c:order val="2"/>
          <c:tx>
            <c:strRef>
              <c:f>גיליון1!$M$67</c:f>
              <c:strCache>
                <c:ptCount val="1"/>
                <c:pt idx="0">
                  <c:v>בריאות</c:v>
                </c:pt>
              </c:strCache>
            </c:strRef>
          </c:tx>
          <c:spPr>
            <a:ln w="63500">
              <a:solidFill>
                <a:srgbClr val="4885ED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M$68:$M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15.16138897571901</c:v>
                </c:pt>
                <c:pt idx="2">
                  <c:v>130.55073227402301</c:v>
                </c:pt>
                <c:pt idx="3">
                  <c:v>137.73154424187766</c:v>
                </c:pt>
                <c:pt idx="4">
                  <c:v>154.40072977075098</c:v>
                </c:pt>
                <c:pt idx="5">
                  <c:v>161.13199774868517</c:v>
                </c:pt>
                <c:pt idx="6">
                  <c:v>185.63950022237665</c:v>
                </c:pt>
                <c:pt idx="7">
                  <c:v>197.82331678614301</c:v>
                </c:pt>
                <c:pt idx="8">
                  <c:v>227.07472137679301</c:v>
                </c:pt>
                <c:pt idx="9">
                  <c:v>237.13099467124982</c:v>
                </c:pt>
                <c:pt idx="10">
                  <c:v>253.8330420824092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813-4631-85F8-16C64D2C0885}"/>
            </c:ext>
          </c:extLst>
        </c:ser>
        <c:ser>
          <c:idx val="3"/>
          <c:order val="3"/>
          <c:tx>
            <c:strRef>
              <c:f>גיליון1!$N$67</c:f>
              <c:strCache>
                <c:ptCount val="1"/>
                <c:pt idx="0">
                  <c:v>תחבורה</c:v>
                </c:pt>
              </c:strCache>
            </c:strRef>
          </c:tx>
          <c:spPr>
            <a:ln w="63500">
              <a:solidFill>
                <a:srgbClr val="3CBA54"/>
              </a:solidFill>
            </a:ln>
          </c:spPr>
          <c:marker>
            <c:symbol val="none"/>
          </c:marker>
          <c:cat>
            <c:numRef>
              <c:f>גיליון1!$J$68:$J$78</c:f>
              <c:numCache>
                <c:formatCode>General</c:formatCode>
                <c:ptCount val="11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</c:numCache>
            </c:numRef>
          </c:cat>
          <c:val>
            <c:numRef>
              <c:f>גיליון1!$N$68:$N$78</c:f>
              <c:numCache>
                <c:formatCode>0.00</c:formatCode>
                <c:ptCount val="11"/>
                <c:pt idx="0" formatCode="General">
                  <c:v>100</c:v>
                </c:pt>
                <c:pt idx="1">
                  <c:v>103.36530139507298</c:v>
                </c:pt>
                <c:pt idx="2">
                  <c:v>130.93264106766216</c:v>
                </c:pt>
                <c:pt idx="3">
                  <c:v>133.35068115583201</c:v>
                </c:pt>
                <c:pt idx="4">
                  <c:v>191.17961472798075</c:v>
                </c:pt>
                <c:pt idx="5">
                  <c:v>208.99427285562024</c:v>
                </c:pt>
                <c:pt idx="6">
                  <c:v>224.41414306145282</c:v>
                </c:pt>
                <c:pt idx="7">
                  <c:v>238.61630602883997</c:v>
                </c:pt>
                <c:pt idx="8">
                  <c:v>279.03747855364469</c:v>
                </c:pt>
                <c:pt idx="9">
                  <c:v>283.78116730080768</c:v>
                </c:pt>
                <c:pt idx="10">
                  <c:v>317.4939537311174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813-4631-85F8-16C64D2C0885}"/>
            </c:ext>
          </c:extLst>
        </c:ser>
        <c:marker val="1"/>
        <c:axId val="38617856"/>
        <c:axId val="38619392"/>
      </c:lineChart>
      <c:catAx>
        <c:axId val="38617856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800" b="1" smtId="4294967295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defRPr>
            </a:pPr>
            <a:endParaRPr lang="en-US"/>
          </a:p>
        </c:txPr>
        <c:crossAx val="38619392"/>
        <c:crosses val="autoZero"/>
        <c:lblAlgn val="ctr"/>
        <c:lblOffset val="100"/>
      </c:catAx>
      <c:valAx>
        <c:axId val="38619392"/>
        <c:scaling>
          <c:orientation val="minMax"/>
          <c:min val="90"/>
        </c:scaling>
        <c:delete val="1"/>
        <c:axPos val="l"/>
        <c:numFmt formatCode="General" sourceLinked="1"/>
        <c:tickLblPos val="none"/>
        <c:crossAx val="38617856"/>
        <c:crosses val="autoZero"/>
        <c:crossBetween val="between"/>
      </c:valAx>
    </c:plotArea>
    <c:plotVisOnly val="1"/>
    <c:dispBlanksAs val="gap"/>
  </c:chart>
  <c:externalData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rgbClr val="56B1CA"/>
            </a:solidFill>
          </c:spPr>
          <c:cat>
            <c:strRef>
              <c:f>גיליון1!$A$2:$A$11</c:f>
              <c:strCache>
                <c:ptCount val="4"/>
                <c:pt idx="0">
                  <c:v>קטגוריה 1</c:v>
                </c:pt>
                <c:pt idx="1">
                  <c:v>קטגוריה 2</c:v>
                </c:pt>
                <c:pt idx="2">
                  <c:v>קטגוריה 3</c:v>
                </c:pt>
                <c:pt idx="3">
                  <c:v>קטגוריה 4</c:v>
                </c:pt>
              </c:strCache>
            </c:strRef>
          </c:cat>
          <c:val>
            <c:numRef>
              <c:f>גיליון1!$B$2:$B$11</c:f>
              <c:numCache>
                <c:formatCode>General</c:formatCode>
                <c:ptCount val="10"/>
                <c:pt idx="0">
                  <c:v>3.3</c:v>
                </c:pt>
                <c:pt idx="1">
                  <c:v>3.3</c:v>
                </c:pt>
                <c:pt idx="2">
                  <c:v>3.3</c:v>
                </c:pt>
                <c:pt idx="3">
                  <c:v>3.3</c:v>
                </c:pt>
                <c:pt idx="4">
                  <c:v>3.3</c:v>
                </c:pt>
                <c:pt idx="5">
                  <c:v>3.3</c:v>
                </c:pt>
                <c:pt idx="6">
                  <c:v>3.3</c:v>
                </c:pt>
                <c:pt idx="7">
                  <c:v>3.3</c:v>
                </c:pt>
                <c:pt idx="8">
                  <c:v>3.3</c:v>
                </c:pt>
                <c:pt idx="9">
                  <c:v>3.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07D-49F2-80D4-253F1850DB96}"/>
            </c:ext>
          </c:extLst>
        </c:ser>
        <c:axId val="39939072"/>
        <c:axId val="39949056"/>
      </c:barChart>
      <c:catAx>
        <c:axId val="39939072"/>
        <c:scaling>
          <c:orientation val="minMax"/>
        </c:scaling>
        <c:delete val="1"/>
        <c:axPos val="b"/>
        <c:numFmt formatCode="General" sourceLinked="0"/>
        <c:tickLblPos val="none"/>
        <c:crossAx val="39949056"/>
        <c:crosses val="autoZero"/>
        <c:auto val="1"/>
        <c:lblAlgn val="ctr"/>
        <c:lblOffset val="100"/>
      </c:catAx>
      <c:valAx>
        <c:axId val="39949056"/>
        <c:scaling>
          <c:orientation val="minMax"/>
        </c:scaling>
        <c:delete val="1"/>
        <c:axPos val="l"/>
        <c:numFmt formatCode="General" sourceLinked="1"/>
        <c:tickLblPos val="none"/>
        <c:crossAx val="3993907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dPt>
            <c:idx val="0"/>
            <c:spPr>
              <a:solidFill>
                <a:srgbClr val="D2A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1B7-4B6E-8865-CE5583544639}"/>
              </c:ext>
            </c:extLst>
          </c:dPt>
          <c:cat>
            <c:strRef>
              <c:f>גיליון1!$A$2:$A$12</c:f>
              <c:strCache>
                <c:ptCount val="4"/>
                <c:pt idx="0">
                  <c:v>קטגוריה 1</c:v>
                </c:pt>
                <c:pt idx="1">
                  <c:v>קטגוריה 2</c:v>
                </c:pt>
                <c:pt idx="2">
                  <c:v>קטגוריה 3</c:v>
                </c:pt>
                <c:pt idx="3">
                  <c:v>קטגוריה 4</c:v>
                </c:pt>
              </c:strCache>
            </c:strRef>
          </c:cat>
          <c:val>
            <c:numRef>
              <c:f>גיליון1!$B$2:$B$12</c:f>
              <c:numCache>
                <c:formatCode>General</c:formatCode>
                <c:ptCount val="11"/>
                <c:pt idx="0">
                  <c:v>2.4</c:v>
                </c:pt>
                <c:pt idx="1">
                  <c:v>2.6</c:v>
                </c:pt>
                <c:pt idx="2">
                  <c:v>2.8</c:v>
                </c:pt>
                <c:pt idx="3">
                  <c:v>3</c:v>
                </c:pt>
                <c:pt idx="4">
                  <c:v>3.1</c:v>
                </c:pt>
                <c:pt idx="5">
                  <c:v>2.9</c:v>
                </c:pt>
                <c:pt idx="6">
                  <c:v>3.1</c:v>
                </c:pt>
                <c:pt idx="7">
                  <c:v>3.1</c:v>
                </c:pt>
                <c:pt idx="8">
                  <c:v>3.1</c:v>
                </c:pt>
                <c:pt idx="9">
                  <c:v>3.1</c:v>
                </c:pt>
                <c:pt idx="10">
                  <c:v>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1B7-4B6E-8865-CE5583544639}"/>
            </c:ext>
          </c:extLst>
        </c:ser>
        <c:axId val="39871616"/>
        <c:axId val="39873152"/>
      </c:barChart>
      <c:catAx>
        <c:axId val="39871616"/>
        <c:scaling>
          <c:orientation val="minMax"/>
        </c:scaling>
        <c:delete val="1"/>
        <c:axPos val="b"/>
        <c:numFmt formatCode="General" sourceLinked="0"/>
        <c:tickLblPos val="none"/>
        <c:crossAx val="39873152"/>
        <c:crosses val="autoZero"/>
        <c:auto val="1"/>
        <c:lblAlgn val="ctr"/>
        <c:lblOffset val="100"/>
      </c:catAx>
      <c:valAx>
        <c:axId val="39873152"/>
        <c:scaling>
          <c:orientation val="minMax"/>
        </c:scaling>
        <c:delete val="1"/>
        <c:axPos val="l"/>
        <c:numFmt formatCode="General" sourceLinked="1"/>
        <c:tickLblPos val="none"/>
        <c:crossAx val="39871616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rgbClr val="56B1CA"/>
            </a:solidFill>
          </c:spPr>
          <c:dPt>
            <c:idx val="0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F2E-4BFC-AE25-61575942A9B6}"/>
              </c:ext>
            </c:extLst>
          </c:dPt>
          <c:dPt>
            <c:idx val="1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F2E-4BFC-AE25-61575942A9B6}"/>
              </c:ext>
            </c:extLst>
          </c:dPt>
          <c:dPt>
            <c:idx val="2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F2E-4BFC-AE25-61575942A9B6}"/>
              </c:ext>
            </c:extLst>
          </c:dPt>
          <c:dPt>
            <c:idx val="3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F2E-4BFC-AE25-61575942A9B6}"/>
              </c:ext>
            </c:extLst>
          </c:dPt>
          <c:dPt>
            <c:idx val="4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F2E-4BFC-AE25-61575942A9B6}"/>
              </c:ext>
            </c:extLst>
          </c:dPt>
          <c:dPt>
            <c:idx val="5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F2E-4BFC-AE25-61575942A9B6}"/>
              </c:ext>
            </c:extLst>
          </c:dPt>
          <c:dPt>
            <c:idx val="6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F2E-4BFC-AE25-61575942A9B6}"/>
              </c:ext>
            </c:extLst>
          </c:dPt>
          <c:dPt>
            <c:idx val="7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7F2E-4BFC-AE25-61575942A9B6}"/>
              </c:ext>
            </c:extLst>
          </c:dPt>
          <c:dPt>
            <c:idx val="8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7F2E-4BFC-AE25-61575942A9B6}"/>
              </c:ext>
            </c:extLst>
          </c:dPt>
          <c:dPt>
            <c:idx val="9"/>
            <c:spPr>
              <a:solidFill>
                <a:schemeClr val="accent5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7F2E-4BFC-AE25-61575942A9B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he-IL" sz="1200" b="1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גיליון1!$A$2:$A$21</c:f>
              <c:strCache>
                <c:ptCount val="4"/>
                <c:pt idx="0">
                  <c:v>קטגוריה 1</c:v>
                </c:pt>
                <c:pt idx="1">
                  <c:v>קטגוריה 2</c:v>
                </c:pt>
                <c:pt idx="2">
                  <c:v>קטגוריה 3</c:v>
                </c:pt>
                <c:pt idx="3">
                  <c:v>קטגוריה 4</c:v>
                </c:pt>
              </c:strCache>
            </c:strRef>
          </c:cat>
          <c:val>
            <c:numRef>
              <c:f>גיליון1!$B$2:$B$21</c:f>
              <c:numCache>
                <c:formatCode>General</c:formatCode>
                <c:ptCount val="20"/>
                <c:pt idx="0">
                  <c:v>671</c:v>
                </c:pt>
                <c:pt idx="1">
                  <c:v>730</c:v>
                </c:pt>
                <c:pt idx="2">
                  <c:v>787</c:v>
                </c:pt>
                <c:pt idx="3">
                  <c:v>809</c:v>
                </c:pt>
                <c:pt idx="4">
                  <c:v>774</c:v>
                </c:pt>
                <c:pt idx="5">
                  <c:v>815</c:v>
                </c:pt>
                <c:pt idx="6">
                  <c:v>815</c:v>
                </c:pt>
                <c:pt idx="7">
                  <c:v>815</c:v>
                </c:pt>
                <c:pt idx="8">
                  <c:v>815</c:v>
                </c:pt>
                <c:pt idx="9">
                  <c:v>815</c:v>
                </c:pt>
                <c:pt idx="10">
                  <c:v>815</c:v>
                </c:pt>
                <c:pt idx="11">
                  <c:v>805</c:v>
                </c:pt>
                <c:pt idx="12">
                  <c:v>795</c:v>
                </c:pt>
                <c:pt idx="13">
                  <c:v>785</c:v>
                </c:pt>
                <c:pt idx="14">
                  <c:v>775</c:v>
                </c:pt>
                <c:pt idx="15">
                  <c:v>725</c:v>
                </c:pt>
                <c:pt idx="16">
                  <c:v>450</c:v>
                </c:pt>
                <c:pt idx="17">
                  <c:v>250</c:v>
                </c:pt>
                <c:pt idx="18">
                  <c:v>250</c:v>
                </c:pt>
                <c:pt idx="19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7F2E-4BFC-AE25-61575942A9B6}"/>
            </c:ext>
          </c:extLst>
        </c:ser>
        <c:axId val="40369152"/>
        <c:axId val="40379136"/>
      </c:barChart>
      <c:catAx>
        <c:axId val="40369152"/>
        <c:scaling>
          <c:orientation val="minMax"/>
        </c:scaling>
        <c:delete val="1"/>
        <c:axPos val="b"/>
        <c:numFmt formatCode="General" sourceLinked="0"/>
        <c:tickLblPos val="none"/>
        <c:crossAx val="40379136"/>
        <c:crosses val="autoZero"/>
        <c:auto val="1"/>
        <c:lblAlgn val="ctr"/>
        <c:lblOffset val="100"/>
      </c:catAx>
      <c:valAx>
        <c:axId val="40379136"/>
        <c:scaling>
          <c:orientation val="minMax"/>
        </c:scaling>
        <c:delete val="1"/>
        <c:axPos val="l"/>
        <c:numFmt formatCode="General" sourceLinked="1"/>
        <c:tickLblPos val="none"/>
        <c:crossAx val="4036915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rgbClr val="4BACC6"/>
            </a:solidFill>
          </c:spPr>
          <c:dPt>
            <c:idx val="0"/>
            <c:spPr>
              <a:solidFill>
                <a:srgbClr val="45C1A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B22-4ECC-8E80-807C691F0AB9}"/>
              </c:ext>
            </c:extLst>
          </c:dPt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/>
                      <a:t> 28.6 </a:t>
                    </a:r>
                  </a:p>
                </c:rich>
              </c:tx>
              <c:dLblPos val="outEnd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B22-4ECC-8E80-807C691F0AB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שכר גופי ביטחון'!$C$3:$C$7</c:f>
              <c:strCache>
                <c:ptCount val="5"/>
                <c:pt idx="0">
                  <c:v>צה"ל</c:v>
                </c:pt>
                <c:pt idx="1">
                  <c:v>שב"ס</c:v>
                </c:pt>
                <c:pt idx="2">
                  <c:v>משטרת ישראל</c:v>
                </c:pt>
                <c:pt idx="3">
                  <c:v>גופים חשאיים</c:v>
                </c:pt>
                <c:pt idx="4">
                  <c:v>יחידות הסמך של משהב"ט</c:v>
                </c:pt>
              </c:strCache>
            </c:strRef>
          </c:cat>
          <c:val>
            <c:numRef>
              <c:f>'שכר גופי ביטחון'!$D$3:$D$7</c:f>
              <c:numCache>
                <c:formatCode>_ * #,##0.0_ ;_ * \-#,##0.0_ ;_ * "-"??_ ;_ @_ </c:formatCode>
                <c:ptCount val="5"/>
                <c:pt idx="0">
                  <c:v>14.4</c:v>
                </c:pt>
                <c:pt idx="1">
                  <c:v>16.100000000000001</c:v>
                </c:pt>
                <c:pt idx="2">
                  <c:v>17.100000000000001</c:v>
                </c:pt>
                <c:pt idx="3">
                  <c:v>21.4</c:v>
                </c:pt>
                <c:pt idx="4">
                  <c:v>28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B22-4ECC-8E80-807C691F0AB9}"/>
            </c:ext>
          </c:extLst>
        </c:ser>
        <c:axId val="41171200"/>
        <c:axId val="41218048"/>
      </c:barChart>
      <c:catAx>
        <c:axId val="41171200"/>
        <c:scaling>
          <c:orientation val="minMax"/>
        </c:scaling>
        <c:delete val="1"/>
        <c:axPos val="b"/>
        <c:numFmt formatCode="General" sourceLinked="0"/>
        <c:tickLblPos val="none"/>
        <c:crossAx val="41218048"/>
        <c:crosses val="autoZero"/>
        <c:lblAlgn val="ctr"/>
        <c:lblOffset val="100"/>
      </c:catAx>
      <c:valAx>
        <c:axId val="41218048"/>
        <c:scaling>
          <c:orientation val="minMax"/>
        </c:scaling>
        <c:delete val="1"/>
        <c:axPos val="l"/>
        <c:numFmt formatCode="_ * #,##0.0_ ;_ * \-#,##0.0_ ;_ * &quot;-&quot;??_ ;_ @_ " sourceLinked="1"/>
        <c:tickLblPos val="none"/>
        <c:crossAx val="41171200"/>
        <c:crosses val="autoZero"/>
        <c:crossBetween val="between"/>
      </c:valAx>
    </c:plotArea>
    <c:plotVisOnly val="1"/>
    <c:dispBlanksAs val="gap"/>
  </c:chart>
  <c:externalData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rgbClr val="F8931F"/>
            </a:solidFill>
          </c:spPr>
          <c:dPt>
            <c:idx val="0"/>
            <c:spPr>
              <a:solidFill>
                <a:srgbClr val="45C1A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0DD-4663-A829-6740059B25EA}"/>
              </c:ext>
            </c:extLst>
          </c:dPt>
          <c:dPt>
            <c:idx val="1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0DD-4663-A829-6740059B25EA}"/>
              </c:ext>
            </c:extLst>
          </c:dPt>
          <c:dPt>
            <c:idx val="2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0DD-4663-A829-6740059B25EA}"/>
              </c:ext>
            </c:extLst>
          </c:dPt>
          <c:dPt>
            <c:idx val="3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0DD-4663-A829-6740059B25EA}"/>
              </c:ext>
            </c:extLst>
          </c:dPt>
          <c:dPt>
            <c:idx val="4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B0DD-4663-A829-6740059B25EA}"/>
              </c:ext>
            </c:extLst>
          </c:dPt>
          <c:dPt>
            <c:idx val="5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B0DD-4663-A829-6740059B25EA}"/>
              </c:ext>
            </c:extLst>
          </c:dPt>
          <c:dPt>
            <c:idx val="6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B0DD-4663-A829-6740059B25EA}"/>
              </c:ext>
            </c:extLst>
          </c:dPt>
          <c:dPt>
            <c:idx val="7"/>
            <c:spPr>
              <a:solidFill>
                <a:srgbClr val="B9D53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B0DD-4663-A829-6740059B25EA}"/>
              </c:ext>
            </c:extLst>
          </c:dPt>
          <c:dPt>
            <c:idx val="8"/>
            <c:spPr>
              <a:solidFill>
                <a:srgbClr val="B9D53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B0DD-4663-A829-6740059B25EA}"/>
              </c:ext>
            </c:extLst>
          </c:dPt>
          <c:dPt>
            <c:idx val="9"/>
            <c:spPr>
              <a:solidFill>
                <a:srgbClr val="B9D533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B0DD-4663-A829-6740059B25EA}"/>
              </c:ext>
            </c:extLst>
          </c:dPt>
          <c:dPt>
            <c:idx val="10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B0DD-4663-A829-6740059B25EA}"/>
              </c:ext>
            </c:extLst>
          </c:dPt>
          <c:dPt>
            <c:idx val="11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B0DD-4663-A829-6740059B25EA}"/>
              </c:ext>
            </c:extLst>
          </c:dPt>
          <c:dPt>
            <c:idx val="12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B0DD-4663-A829-6740059B25EA}"/>
              </c:ext>
            </c:extLst>
          </c:dPt>
          <c:dPt>
            <c:idx val="13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B0DD-4663-A829-6740059B25EA}"/>
              </c:ext>
            </c:extLst>
          </c:dPt>
          <c:dPt>
            <c:idx val="14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B0DD-4663-A829-6740059B25EA}"/>
              </c:ext>
            </c:extLst>
          </c:dPt>
          <c:dPt>
            <c:idx val="15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F-B0DD-4663-A829-6740059B25EA}"/>
              </c:ext>
            </c:extLst>
          </c:dPt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/>
                      <a:t> 28.6 </a:t>
                    </a:r>
                  </a:p>
                </c:rich>
              </c:tx>
              <c:dLblPos val="outEnd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B0DD-4663-A829-6740059B25E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cs typeface="Segoe UI Semilight" panose="020B04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שכר גופי ביטחון'!$C$3:$C$18</c:f>
              <c:strCache>
                <c:ptCount val="16"/>
                <c:pt idx="0">
                  <c:v>צה"ל</c:v>
                </c:pt>
                <c:pt idx="1">
                  <c:v>שב"ס</c:v>
                </c:pt>
                <c:pt idx="2">
                  <c:v>משטרת ישראל</c:v>
                </c:pt>
                <c:pt idx="3">
                  <c:v>גופים חשאיים</c:v>
                </c:pt>
                <c:pt idx="4">
                  <c:v>מקורות</c:v>
                </c:pt>
                <c:pt idx="5">
                  <c:v>רשות שדות התעופה</c:v>
                </c:pt>
                <c:pt idx="6">
                  <c:v>קופת חולים כללית</c:v>
                </c:pt>
                <c:pt idx="7">
                  <c:v>תע"א</c:v>
                </c:pt>
                <c:pt idx="8">
                  <c:v>אלתא</c:v>
                </c:pt>
                <c:pt idx="9">
                  <c:v>רפאל</c:v>
                </c:pt>
                <c:pt idx="10">
                  <c:v>מפעל הפיס</c:v>
                </c:pt>
                <c:pt idx="11">
                  <c:v>רשות ניירות ערך</c:v>
                </c:pt>
                <c:pt idx="12">
                  <c:v>חברת החשמל</c:v>
                </c:pt>
                <c:pt idx="13">
                  <c:v>בנק ישראל</c:v>
                </c:pt>
                <c:pt idx="14">
                  <c:v>יחידות הסמך של משהב"ט</c:v>
                </c:pt>
                <c:pt idx="15">
                  <c:v>נמל חיפה</c:v>
                </c:pt>
              </c:strCache>
            </c:strRef>
          </c:cat>
          <c:val>
            <c:numRef>
              <c:f>'שכר גופי ביטחון'!$D$3:$D$18</c:f>
              <c:numCache>
                <c:formatCode>_ * #,##0.0_ ;_ * \-#,##0.0_ ;_ * "-"??_ ;_ @_ </c:formatCode>
                <c:ptCount val="16"/>
                <c:pt idx="0">
                  <c:v>14.4</c:v>
                </c:pt>
                <c:pt idx="1">
                  <c:v>16.100000000000001</c:v>
                </c:pt>
                <c:pt idx="2">
                  <c:v>17.100000000000001</c:v>
                </c:pt>
                <c:pt idx="3">
                  <c:v>21.4</c:v>
                </c:pt>
                <c:pt idx="4">
                  <c:v>23.4</c:v>
                </c:pt>
                <c:pt idx="5">
                  <c:v>23.8</c:v>
                </c:pt>
                <c:pt idx="6">
                  <c:v>24</c:v>
                </c:pt>
                <c:pt idx="7">
                  <c:v>24</c:v>
                </c:pt>
                <c:pt idx="8">
                  <c:v>26.1</c:v>
                </c:pt>
                <c:pt idx="9">
                  <c:v>26.5</c:v>
                </c:pt>
                <c:pt idx="10">
                  <c:v>26.8</c:v>
                </c:pt>
                <c:pt idx="11">
                  <c:v>27.2</c:v>
                </c:pt>
                <c:pt idx="12">
                  <c:v>27.4</c:v>
                </c:pt>
                <c:pt idx="13">
                  <c:v>28.1</c:v>
                </c:pt>
                <c:pt idx="14">
                  <c:v>28.5</c:v>
                </c:pt>
                <c:pt idx="15">
                  <c:v>33.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20-B0DD-4663-A829-6740059B25EA}"/>
            </c:ext>
          </c:extLst>
        </c:ser>
        <c:axId val="41464960"/>
        <c:axId val="41466496"/>
      </c:barChart>
      <c:catAx>
        <c:axId val="41464960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 algn="ctr">
              <a:defRPr lang="he-IL" sz="1100" b="1" i="0" u="none" strike="noStrike" kern="1200" baseline="0" smtId="4294967295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en-US"/>
          </a:p>
        </c:txPr>
        <c:crossAx val="41466496"/>
        <c:crosses val="autoZero"/>
        <c:lblAlgn val="ctr"/>
        <c:lblOffset val="100"/>
      </c:catAx>
      <c:valAx>
        <c:axId val="41466496"/>
        <c:scaling>
          <c:orientation val="minMax"/>
        </c:scaling>
        <c:delete val="1"/>
        <c:axPos val="l"/>
        <c:numFmt formatCode="_ * #,##0.0_ ;_ * \-#,##0.0_ ;_ * &quot;-&quot;??_ ;_ @_ " sourceLinked="1"/>
        <c:tickLblPos val="none"/>
        <c:crossAx val="41464960"/>
        <c:crosses val="autoZero"/>
        <c:crossBetween val="between"/>
      </c:valAx>
    </c:plotArea>
    <c:plotVisOnly val="1"/>
    <c:dispBlanksAs val="gap"/>
  </c:chart>
  <c:externalData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dPt>
            <c:idx val="0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D95E-4A7C-B0E8-5E0C5EF25CC3}"/>
              </c:ext>
            </c:extLst>
          </c:dPt>
          <c:dPt>
            <c:idx val="1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D95E-4A7C-B0E8-5E0C5EF25CC3}"/>
              </c:ext>
            </c:extLst>
          </c:dPt>
          <c:dPt>
            <c:idx val="2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D95E-4A7C-B0E8-5E0C5EF25CC3}"/>
              </c:ext>
            </c:extLst>
          </c:dPt>
          <c:dPt>
            <c:idx val="3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D95E-4A7C-B0E8-5E0C5EF25CC3}"/>
              </c:ext>
            </c:extLst>
          </c:dPt>
          <c:dPt>
            <c:idx val="4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D95E-4A7C-B0E8-5E0C5EF25CC3}"/>
              </c:ext>
            </c:extLst>
          </c:dPt>
          <c:dPt>
            <c:idx val="5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D95E-4A7C-B0E8-5E0C5EF25CC3}"/>
              </c:ext>
            </c:extLst>
          </c:dPt>
          <c:dPt>
            <c:idx val="6"/>
            <c:spPr>
              <a:solidFill>
                <a:srgbClr val="4BACC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D95E-4A7C-B0E8-5E0C5EF25CC3}"/>
              </c:ext>
            </c:extLst>
          </c:dPt>
          <c:dPt>
            <c:idx val="7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D95E-4A7C-B0E8-5E0C5EF25CC3}"/>
              </c:ext>
            </c:extLst>
          </c:dPt>
          <c:dPt>
            <c:idx val="8"/>
            <c:spPr>
              <a:solidFill>
                <a:srgbClr val="45C1A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D95E-4A7C-B0E8-5E0C5EF25CC3}"/>
              </c:ext>
            </c:extLst>
          </c:dPt>
          <c:dPt>
            <c:idx val="9"/>
            <c:spPr>
              <a:solidFill>
                <a:srgbClr val="F7964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D95E-4A7C-B0E8-5E0C5EF25CC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he-IL" sz="1050" b="0" i="0" u="none" strike="noStrike" kern="1200" baseline="0" smtId="4294967295">
                    <a:ln>
                      <a:solidFill>
                        <a:sysClr val="windowText" lastClr="000000"/>
                      </a:solidFill>
                    </a:ln>
                    <a:solidFill>
                      <a:sysClr val="windowText" lastClr="000000"/>
                    </a:solidFill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תרשים ב- Microsoft PowerPoint]שינוי שכר'!$B$3:$B$12</c:f>
              <c:strCache>
                <c:ptCount val="10"/>
                <c:pt idx="0">
                  <c:v>חברות עירוניות</c:v>
                </c:pt>
                <c:pt idx="1">
                  <c:v>שב"ס</c:v>
                </c:pt>
                <c:pt idx="2">
                  <c:v>קופות חולים</c:v>
                </c:pt>
                <c:pt idx="3">
                  <c:v>מועצות דתיות</c:v>
                </c:pt>
                <c:pt idx="4">
                  <c:v>מוסדות אקדמיים</c:v>
                </c:pt>
                <c:pt idx="5">
                  <c:v>תאגידים </c:v>
                </c:pt>
                <c:pt idx="6">
                  <c:v>משטרה</c:v>
                </c:pt>
                <c:pt idx="7">
                  <c:v>ממוצע חברות ממשלתיות</c:v>
                </c:pt>
                <c:pt idx="8">
                  <c:v>צה"ל</c:v>
                </c:pt>
                <c:pt idx="9">
                  <c:v>רשויות מקומיות</c:v>
                </c:pt>
              </c:strCache>
            </c:strRef>
          </c:cat>
          <c:val>
            <c:numRef>
              <c:f>'[תרשים ב- Microsoft PowerPoint]שינוי שכר'!$C$3:$C$12</c:f>
              <c:numCache>
                <c:formatCode>0%</c:formatCode>
                <c:ptCount val="10"/>
                <c:pt idx="0">
                  <c:v>0.56000000000000005</c:v>
                </c:pt>
                <c:pt idx="1">
                  <c:v>0.49000000000000021</c:v>
                </c:pt>
                <c:pt idx="2">
                  <c:v>0.47000000000000008</c:v>
                </c:pt>
                <c:pt idx="3">
                  <c:v>0.43000000000000022</c:v>
                </c:pt>
                <c:pt idx="4">
                  <c:v>0.4100000000000002</c:v>
                </c:pt>
                <c:pt idx="5">
                  <c:v>0.3500000000000002</c:v>
                </c:pt>
                <c:pt idx="6">
                  <c:v>0.34000000000000014</c:v>
                </c:pt>
                <c:pt idx="7">
                  <c:v>0.30000000000000021</c:v>
                </c:pt>
                <c:pt idx="8">
                  <c:v>0.2900000000000002</c:v>
                </c:pt>
                <c:pt idx="9">
                  <c:v>0.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4-D95E-4A7C-B0E8-5E0C5EF25CC3}"/>
            </c:ext>
          </c:extLst>
        </c:ser>
        <c:axId val="58320768"/>
        <c:axId val="58322304"/>
      </c:barChart>
      <c:catAx>
        <c:axId val="58320768"/>
        <c:scaling>
          <c:orientation val="maxMin"/>
        </c:scaling>
        <c:axPos val="b"/>
        <c:numFmt formatCode="General" sourceLinked="0"/>
        <c:tickLblPos val="nextTo"/>
        <c:txPr>
          <a:bodyPr/>
          <a:lstStyle/>
          <a:p>
            <a:pPr algn="ctr">
              <a:defRPr lang="he-IL" sz="1200" b="1" i="0" u="none" strike="noStrike" kern="1200" baseline="0" smtId="4294967295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en-US"/>
          </a:p>
        </c:txPr>
        <c:crossAx val="58322304"/>
        <c:crosses val="autoZero"/>
        <c:lblAlgn val="ctr"/>
        <c:lblOffset val="100"/>
      </c:catAx>
      <c:valAx>
        <c:axId val="58322304"/>
        <c:scaling>
          <c:orientation val="minMax"/>
        </c:scaling>
        <c:delete val="1"/>
        <c:axPos val="r"/>
        <c:numFmt formatCode="0%" sourceLinked="1"/>
        <c:tickLblPos val="none"/>
        <c:crossAx val="58320768"/>
        <c:crosses val="autoZero"/>
        <c:crossBetween val="between"/>
      </c:valAx>
    </c:plotArea>
    <c:plotVisOnly val="1"/>
    <c:dispBlanksAs val="gap"/>
  </c:chart>
  <c:externalData r:id="rId1"/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barChart>
        <c:barDir val="col"/>
        <c:grouping val="clustered"/>
        <c:ser>
          <c:idx val="0"/>
          <c:order val="0"/>
          <c:spPr>
            <a:solidFill>
              <a:schemeClr val="bg1">
                <a:lumMod val="95000"/>
              </a:schemeClr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 rtl="0">
                  <a:defRPr lang="he-IL" sz="1050" b="0" i="0" u="none" strike="noStrike" kern="1200" baseline="0" smtId="4294967295">
                    <a:ln>
                      <a:solidFill>
                        <a:schemeClr val="bg1">
                          <a:lumMod val="95000"/>
                        </a:schemeClr>
                      </a:solidFill>
                    </a:ln>
                    <a:solidFill>
                      <a:schemeClr val="bg1">
                        <a:lumMod val="95000"/>
                      </a:schemeClr>
                    </a:solidFill>
                    <a:latin typeface="Segoe UI Semilight" panose="020B0402040204020203" pitchFamily="34" charset="0"/>
                    <a:ea typeface="+mn-ea"/>
                    <a:cs typeface="Segoe UI Semilight" panose="020B0402040204020203" pitchFamily="34" charset="0"/>
                  </a:defRPr>
                </a:pPr>
                <a:endParaRPr lang="en-US"/>
              </a:p>
            </c:txPr>
            <c:dLblPos val="outEnd"/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תרשים ב- Microsoft PowerPoint]שינוי שכר'!$B$3:$B$12</c:f>
              <c:strCache>
                <c:ptCount val="10"/>
                <c:pt idx="0">
                  <c:v>חברות עירוניות</c:v>
                </c:pt>
                <c:pt idx="1">
                  <c:v>שב"ס</c:v>
                </c:pt>
                <c:pt idx="2">
                  <c:v>קופות חולים</c:v>
                </c:pt>
                <c:pt idx="3">
                  <c:v>מועצות דתיות</c:v>
                </c:pt>
                <c:pt idx="4">
                  <c:v>מוסדות אקדמיים</c:v>
                </c:pt>
                <c:pt idx="5">
                  <c:v>תאגידים </c:v>
                </c:pt>
                <c:pt idx="6">
                  <c:v>משטרה</c:v>
                </c:pt>
                <c:pt idx="7">
                  <c:v>ממוצע חברות ממשלתיות</c:v>
                </c:pt>
                <c:pt idx="8">
                  <c:v>צה"ל</c:v>
                </c:pt>
                <c:pt idx="9">
                  <c:v>רשויות מקומיות</c:v>
                </c:pt>
              </c:strCache>
            </c:strRef>
          </c:cat>
          <c:val>
            <c:numRef>
              <c:f>'[תרשים ב- Microsoft PowerPoint]שינוי שכר'!$C$3:$C$12</c:f>
              <c:numCache>
                <c:formatCode>0%</c:formatCode>
                <c:ptCount val="10"/>
                <c:pt idx="0">
                  <c:v>0.56000000000000005</c:v>
                </c:pt>
                <c:pt idx="1">
                  <c:v>0.49000000000000021</c:v>
                </c:pt>
                <c:pt idx="2">
                  <c:v>0.47000000000000008</c:v>
                </c:pt>
                <c:pt idx="3">
                  <c:v>0.43000000000000022</c:v>
                </c:pt>
                <c:pt idx="4">
                  <c:v>0.4100000000000002</c:v>
                </c:pt>
                <c:pt idx="5">
                  <c:v>0.3500000000000002</c:v>
                </c:pt>
                <c:pt idx="6">
                  <c:v>0.34</c:v>
                </c:pt>
                <c:pt idx="7">
                  <c:v>0.30000000000000021</c:v>
                </c:pt>
                <c:pt idx="8">
                  <c:v>0.2900000000000002</c:v>
                </c:pt>
                <c:pt idx="9">
                  <c:v>0.2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B49-4775-BBDF-8747227E7CEE}"/>
            </c:ext>
          </c:extLst>
        </c:ser>
        <c:axId val="65848832"/>
        <c:axId val="67094400"/>
      </c:barChart>
      <c:catAx>
        <c:axId val="65848832"/>
        <c:scaling>
          <c:orientation val="maxMin"/>
        </c:scaling>
        <c:axPos val="b"/>
        <c:numFmt formatCode="General" sourceLinked="0"/>
        <c:tickLblPos val="nextTo"/>
        <c:txPr>
          <a:bodyPr/>
          <a:lstStyle/>
          <a:p>
            <a:pPr algn="ctr">
              <a:defRPr lang="he-IL" sz="1200" b="1" i="0" u="none" strike="noStrike" kern="1200" baseline="0" smtId="4294967295">
                <a:ln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pPr>
            <a:endParaRPr lang="en-US"/>
          </a:p>
        </c:txPr>
        <c:crossAx val="67094400"/>
        <c:crosses val="autoZero"/>
        <c:lblAlgn val="ctr"/>
        <c:lblOffset val="100"/>
      </c:catAx>
      <c:valAx>
        <c:axId val="67094400"/>
        <c:scaling>
          <c:orientation val="minMax"/>
        </c:scaling>
        <c:delete val="1"/>
        <c:axPos val="r"/>
        <c:numFmt formatCode="0%" sourceLinked="1"/>
        <c:tickLblPos val="none"/>
        <c:crossAx val="65848832"/>
        <c:crosses val="autoZero"/>
        <c:crossBetween val="between"/>
      </c:valAx>
    </c:plotArea>
    <c:plotVisOnly val="1"/>
    <c:dispBlanksAs val="gap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גיליון1!$B$1</c:f>
              <c:strCache>
                <c:ptCount val="1"/>
                <c:pt idx="0">
                  <c:v>סידרה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 w="19050">
              <a:solidFill>
                <a:schemeClr val="bg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B41-48E7-984F-61B3FDEBFF4A}"/>
              </c:ext>
            </c:extLst>
          </c:dPt>
          <c:dPt>
            <c:idx val="1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B41-48E7-984F-61B3FDEBFF4A}"/>
              </c:ext>
            </c:extLst>
          </c:dPt>
          <c:dPt>
            <c:idx val="2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B41-48E7-984F-61B3FDEBFF4A}"/>
              </c:ext>
            </c:extLst>
          </c:dPt>
          <c:dPt>
            <c:idx val="3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B41-48E7-984F-61B3FDEBFF4A}"/>
              </c:ext>
            </c:extLst>
          </c:dPt>
          <c:dPt>
            <c:idx val="4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AB41-48E7-984F-61B3FDEBFF4A}"/>
              </c:ext>
            </c:extLst>
          </c:dPt>
          <c:dPt>
            <c:idx val="5"/>
            <c:spPr>
              <a:solidFill>
                <a:srgbClr val="F7BF34"/>
              </a:solidFill>
              <a:ln w="19050">
                <a:solidFill>
                  <a:schemeClr val="bg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AB41-48E7-984F-61B3FDEBFF4A}"/>
              </c:ext>
            </c:extLst>
          </c:dPt>
          <c:cat>
            <c:numRef>
              <c:f>גיליון1!$A$2:$A$7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גיליון1!$B$2:$B$7</c:f>
              <c:numCache>
                <c:formatCode>General</c:formatCode>
                <c:ptCount val="6"/>
                <c:pt idx="0">
                  <c:v>86</c:v>
                </c:pt>
                <c:pt idx="1">
                  <c:v>58</c:v>
                </c:pt>
                <c:pt idx="2">
                  <c:v>207</c:v>
                </c:pt>
                <c:pt idx="3">
                  <c:v>148</c:v>
                </c:pt>
                <c:pt idx="4">
                  <c:v>551</c:v>
                </c:pt>
                <c:pt idx="5">
                  <c:v>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AB41-48E7-984F-61B3FDEBFF4A}"/>
            </c:ext>
          </c:extLst>
        </c:ser>
        <c:axId val="95591808"/>
        <c:axId val="95593600"/>
      </c:barChart>
      <c:catAx>
        <c:axId val="95591808"/>
        <c:scaling>
          <c:orientation val="minMax"/>
        </c:scaling>
        <c:axPos val="b"/>
        <c:numFmt formatCode="General" sourceLinked="1"/>
        <c:majorTickMark val="none"/>
        <c:tickLblPos val="nextTo"/>
        <c:spPr>
          <a:ln w="38100">
            <a:solidFill>
              <a:schemeClr val="tx1"/>
            </a:solidFill>
          </a:ln>
        </c:spPr>
        <c:txPr>
          <a:bodyPr/>
          <a:lstStyle/>
          <a:p>
            <a:pPr>
              <a:defRPr lang="he-IL" sz="2000" kern="1200" smtId="4294967295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endParaRPr lang="en-US"/>
          </a:p>
        </c:txPr>
        <c:crossAx val="95593600"/>
        <c:crosses val="autoZero"/>
        <c:lblAlgn val="ctr"/>
        <c:lblOffset val="100"/>
      </c:catAx>
      <c:valAx>
        <c:axId val="95593600"/>
        <c:scaling>
          <c:orientation val="minMax"/>
        </c:scaling>
        <c:delete val="1"/>
        <c:axPos val="l"/>
        <c:numFmt formatCode="General" sourceLinked="1"/>
        <c:tickLblPos val="none"/>
        <c:crossAx val="9559180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11606440693140041"/>
          <c:y val="0.14698804914951324"/>
          <c:w val="0.81016987562179565"/>
          <c:h val="0.8120611310005188"/>
        </c:manualLayout>
      </c:layout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spPr>
              <a:solidFill>
                <a:schemeClr val="accent1">
                  <a:lumMod val="75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F22-45E5-BC58-A15607A288A8}"/>
              </c:ext>
            </c:extLst>
          </c:dPt>
          <c:dPt>
            <c:idx val="1"/>
            <c:spPr>
              <a:solidFill>
                <a:srgbClr val="005700"/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F22-45E5-BC58-A15607A288A8}"/>
              </c:ext>
            </c:extLst>
          </c:dPt>
          <c:dPt>
            <c:idx val="2"/>
            <c:spPr>
              <a:solidFill>
                <a:schemeClr val="accent6">
                  <a:lumMod val="75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F22-45E5-BC58-A15607A288A8}"/>
              </c:ext>
            </c:extLst>
          </c:dPt>
          <c:dPt>
            <c:idx val="3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F22-45E5-BC58-A15607A288A8}"/>
              </c:ext>
            </c:extLst>
          </c:dPt>
          <c:dLbls>
            <c:dLbl>
              <c:idx val="0"/>
              <c:layout>
                <c:manualLayout>
                  <c:x val="-0.22665780782699591"/>
                  <c:y val="0.12506639957427992"/>
                </c:manualLayout>
              </c:layout>
              <c:tx>
                <c:rich>
                  <a:bodyPr/>
                  <a:lstStyle/>
                  <a:p>
                    <a:r>
                      <a:rPr lang="en-US" sz="2800" dirty="0" smtClean="0"/>
                      <a:t>Air</a:t>
                    </a:r>
                    <a:r>
                      <a:rPr lang="en-US" sz="2800" dirty="0"/>
                      <a:t>
</a:t>
                    </a:r>
                    <a:endParaRPr lang="en-US" dirty="0"/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F22-45E5-BC58-A15607A288A8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3032535984440147E-2"/>
                  <c:y val="-2.3369929977338878E-2"/>
                </c:manualLayout>
              </c:layout>
              <c:tx>
                <c:rich>
                  <a:bodyPr/>
                  <a:lstStyle/>
                  <a:p>
                    <a:r>
                      <a:rPr lang="en-US" sz="2000" dirty="0" smtClean="0"/>
                      <a:t>Ground</a:t>
                    </a:r>
                    <a:r>
                      <a:rPr lang="en-US" sz="2000" baseline="0" dirty="0" smtClean="0"/>
                      <a:t> </a:t>
                    </a:r>
                    <a:r>
                      <a:rPr lang="en-US" sz="2000" dirty="0" smtClean="0"/>
                      <a:t> </a:t>
                    </a:r>
                    <a:endParaRPr lang="en-US" sz="2000" dirty="0"/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F22-45E5-BC58-A15607A288A8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1348887648880532E-3"/>
                  <c:y val="7.6833167699783753E-3"/>
                </c:manualLayout>
              </c:layout>
              <c:tx>
                <c:rich>
                  <a:bodyPr/>
                  <a:lstStyle/>
                  <a:p>
                    <a:r>
                      <a:rPr lang="en-US" sz="2800" dirty="0" smtClean="0"/>
                      <a:t>Navy</a:t>
                    </a:r>
                    <a:r>
                      <a:rPr lang="en-US" sz="2800" dirty="0"/>
                      <a:t>
</a:t>
                    </a:r>
                    <a:endParaRPr lang="en-US" dirty="0"/>
                  </a:p>
                </c:rich>
              </c:tx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F22-45E5-BC58-A15607A288A8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30587750673294112"/>
                  <c:y val="5.6126754730939872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2800" smtId="4294967295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cs typeface="Lucida Sans Unicode" panose="020B0602030504020204" pitchFamily="34" charset="0"/>
                    </a:defRPr>
                  </a:pPr>
                  <a:endParaRPr lang="en-US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F22-45E5-BC58-A15607A288A8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8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cs typeface="Lucida Sans Unicode" panose="020B0602030504020204" pitchFamily="34" charset="0"/>
                  </a:defRPr>
                </a:pPr>
                <a:endParaRPr lang="en-US"/>
              </a:p>
            </c:txPr>
            <c:showVal val="1"/>
            <c:showCatName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גיליון1!$A$2:$A$4</c:f>
              <c:strCache>
                <c:ptCount val="3"/>
                <c:pt idx="0">
                  <c:v>אוויר</c:v>
                </c:pt>
                <c:pt idx="1">
                  <c:v>יבשה</c:v>
                </c:pt>
                <c:pt idx="2">
                  <c:v>ים</c:v>
                </c:pt>
              </c:strCache>
            </c:strRef>
          </c:cat>
          <c:val>
            <c:numRef>
              <c:f>גיליון1!$B$2:$B$4</c:f>
              <c:numCache>
                <c:formatCode>General</c:formatCode>
                <c:ptCount val="4"/>
                <c:pt idx="0">
                  <c:v>2571</c:v>
                </c:pt>
                <c:pt idx="1">
                  <c:v>860</c:v>
                </c:pt>
                <c:pt idx="2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F22-45E5-BC58-A15607A288A8}"/>
            </c:ext>
          </c:extLst>
        </c:ser>
        <c:firstSliceAng val="0"/>
        <c:holeSize val="50"/>
      </c:doughnut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>
        <c:manualLayout>
          <c:layoutTarget val="inner"/>
          <c:xMode val="edge"/>
          <c:yMode val="edge"/>
          <c:x val="0.11606440693140041"/>
          <c:y val="0.14698804914951324"/>
          <c:w val="0.81016987562179565"/>
          <c:h val="0.8120611310005188"/>
        </c:manualLayout>
      </c:layout>
      <c:doughnut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ln w="38100">
              <a:solidFill>
                <a:srgbClr val="FFFFF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spPr>
              <a:solidFill>
                <a:schemeClr val="accent1">
                  <a:lumMod val="75000"/>
                </a:schemeClr>
              </a:solidFill>
              <a:ln w="38100">
                <a:solidFill>
                  <a:srgbClr val="FFFFFF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96F-4F49-A9E0-0CA1AFBDD8A6}"/>
              </c:ext>
            </c:extLst>
          </c:dPt>
          <c:dPt>
            <c:idx val="1"/>
            <c:spPr>
              <a:solidFill>
                <a:srgbClr val="005700"/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96F-4F49-A9E0-0CA1AFBDD8A6}"/>
              </c:ext>
            </c:extLst>
          </c:dPt>
          <c:dPt>
            <c:idx val="2"/>
            <c:spPr>
              <a:solidFill>
                <a:schemeClr val="accent6">
                  <a:lumMod val="75000"/>
                </a:schemeClr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96F-4F49-A9E0-0CA1AFBDD8A6}"/>
              </c:ext>
            </c:extLst>
          </c:dPt>
          <c:dPt>
            <c:idx val="3"/>
            <c:spPr>
              <a:solidFill>
                <a:schemeClr val="tx1">
                  <a:lumMod val="50000"/>
                  <a:lumOff val="50000"/>
                </a:schemeClr>
              </a:solidFill>
              <a:ln w="38100">
                <a:solidFill>
                  <a:srgbClr val="FFFFFF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A96F-4F49-A9E0-0CA1AFBDD8A6}"/>
              </c:ext>
            </c:extLst>
          </c:dPt>
          <c:dLbls>
            <c:dLbl>
              <c:idx val="0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96F-4F49-A9E0-0CA1AFBDD8A6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2798065426592814"/>
                  <c:y val="0.21494183861367649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Lucida Sans Unicode" panose="020B0602030504020204" pitchFamily="34" charset="0"/>
                        <a:cs typeface="Lucida Sans Unicode" panose="020B0602030504020204" pitchFamily="34" charset="0"/>
                      </a:defRPr>
                    </a:pPr>
                    <a:r>
                      <a:rPr lang="en-US" sz="1100" dirty="0" smtClean="0"/>
                      <a:t>Ground</a:t>
                    </a:r>
                    <a:endParaRPr lang="en-US" sz="1400" dirty="0"/>
                  </a:p>
                </c:rich>
              </c:tx>
              <c:spPr/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96F-4F49-A9E0-0CA1AFBDD8A6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8.1353394596367645E-3"/>
                  <c:y val="9.5585124111505396E-2"/>
                </c:manualLayout>
              </c:layout>
              <c:tx>
                <c:rich>
                  <a:bodyPr/>
                  <a:lstStyle/>
                  <a:p>
                    <a:pPr>
                      <a:defRPr sz="1400">
                        <a:ln>
                          <a:solidFill>
                            <a:schemeClr val="bg1"/>
                          </a:solidFill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Lucida Sans Unicode" panose="020B0602030504020204" pitchFamily="34" charset="0"/>
                        <a:cs typeface="Lucida Sans Unicode" panose="020B0602030504020204" pitchFamily="34" charset="0"/>
                      </a:defRPr>
                    </a:pPr>
                    <a:r>
                      <a:rPr lang="en-US" sz="1100" dirty="0" smtClean="0"/>
                      <a:t>Navy</a:t>
                    </a:r>
                    <a:r>
                      <a:rPr lang="en-US" sz="1100" dirty="0"/>
                      <a:t>
</a:t>
                    </a:r>
                  </a:p>
                </c:rich>
              </c:tx>
              <c:spPr/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96F-4F49-A9E0-0CA1AFBDD8A6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.30587750673294112"/>
                  <c:y val="5.6126754730939872E-2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800" smtId="4294967295">
                      <a:ln>
                        <a:solidFill>
                          <a:schemeClr val="tx1"/>
                        </a:solidFill>
                      </a:ln>
                      <a:solidFill>
                        <a:schemeClr val="tx1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latin typeface="Lucida Sans Unicode" panose="020B0602030504020204" pitchFamily="34" charset="0"/>
                      <a:cs typeface="Lucida Sans Unicode" panose="020B0602030504020204" pitchFamily="34" charset="0"/>
                    </a:defRPr>
                  </a:pPr>
                  <a:endParaRPr lang="en-US"/>
                </a:p>
              </c:txPr>
              <c:showVal val="1"/>
              <c:showCatName val="1"/>
              <c:separator>
</c:separator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96F-4F49-A9E0-0CA1AFBDD8A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 smtId="4294967295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Lucida Sans Unicode" panose="020B0602030504020204" pitchFamily="34" charset="0"/>
                    <a:cs typeface="Lucida Sans Unicode" panose="020B0602030504020204" pitchFamily="34" charset="0"/>
                  </a:defRPr>
                </a:pPr>
                <a:endParaRPr lang="en-US"/>
              </a:p>
            </c:txPr>
            <c:showVal val="1"/>
            <c:showCatName val="1"/>
            <c:separator>
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גיליון1!$A$2</c:f>
              <c:strCache>
                <c:ptCount val="1"/>
                <c:pt idx="0">
                  <c:v>אוויר</c:v>
                </c:pt>
              </c:strCache>
            </c:strRef>
          </c:cat>
          <c:val>
            <c:numRef>
              <c:f>גיליון1!$B$2</c:f>
              <c:numCache>
                <c:formatCode>General</c:formatCode>
                <c:ptCount val="4"/>
                <c:pt idx="0">
                  <c:v>25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A96F-4F49-A9E0-0CA1AFBDD8A6}"/>
            </c:ext>
          </c:extLst>
        </c:ser>
        <c:firstSliceAng val="0"/>
        <c:holeSize val="50"/>
      </c:doughnut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</c:spPr>
          <c:cat>
            <c:strRef>
              <c:f>גיליון1!$A$2</c:f>
              <c:strCache>
                <c:ptCount val="1"/>
                <c:pt idx="0">
                  <c:v>רבעון ראשון</c:v>
                </c:pt>
              </c:strCache>
            </c:strRef>
          </c:cat>
          <c:val>
            <c:numRef>
              <c:f>גיליון1!$B$2</c:f>
              <c:numCache>
                <c:formatCode>General</c:formatCode>
                <c:ptCount val="1"/>
                <c:pt idx="0">
                  <c:v>52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622-4569-ADDF-796326D1B22C}"/>
            </c:ext>
          </c:extLst>
        </c:ser>
        <c:firstSliceAng val="0"/>
      </c:pie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649-4C1F-93CF-60933136BE0E}"/>
              </c:ext>
            </c:extLst>
          </c:dPt>
          <c:dPt>
            <c:idx val="1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649-4C1F-93CF-60933136BE0E}"/>
              </c:ext>
            </c:extLst>
          </c:dPt>
          <c:dPt>
            <c:idx val="2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649-4C1F-93CF-60933136BE0E}"/>
              </c:ext>
            </c:extLst>
          </c:dPt>
          <c:dPt>
            <c:idx val="3"/>
            <c:spPr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649-4C1F-93CF-60933136BE0E}"/>
              </c:ext>
            </c:extLst>
          </c:dPt>
          <c:cat>
            <c:strRef>
              <c:f>גיליון1!$A$2:$A$6</c:f>
              <c:strCache>
                <c:ptCount val="5"/>
                <c:pt idx="0">
                  <c:v>Q1</c:v>
                </c:pt>
                <c:pt idx="1">
                  <c:v>Q1</c:v>
                </c:pt>
                <c:pt idx="3">
                  <c:v>Q2</c:v>
                </c:pt>
                <c:pt idx="4">
                  <c:v>Q3</c:v>
                </c:pt>
              </c:strCache>
            </c:strRef>
          </c:cat>
          <c:val>
            <c:numRef>
              <c:f>גיליון1!$B$2:$B$6</c:f>
              <c:numCache>
                <c:formatCode>General</c:formatCode>
                <c:ptCount val="5"/>
                <c:pt idx="0">
                  <c:v>344</c:v>
                </c:pt>
                <c:pt idx="1">
                  <c:v>39.1</c:v>
                </c:pt>
                <c:pt idx="2">
                  <c:v>95.3</c:v>
                </c:pt>
                <c:pt idx="3">
                  <c:v>4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649-4C1F-93CF-60933136BE0E}"/>
            </c:ext>
          </c:extLst>
        </c:ser>
        <c:firstSliceAng val="0"/>
      </c:pie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22B-4C0D-9356-CE32E3AAD01C}"/>
              </c:ext>
            </c:extLst>
          </c:dPt>
          <c:dPt>
            <c:idx val="1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22B-4C0D-9356-CE32E3AAD01C}"/>
              </c:ext>
            </c:extLst>
          </c:dPt>
          <c:dPt>
            <c:idx val="2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22B-4C0D-9356-CE32E3AAD01C}"/>
              </c:ext>
            </c:extLst>
          </c:dPt>
          <c:dPt>
            <c:idx val="3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22B-4C0D-9356-CE32E3AAD01C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73</c:v>
                </c:pt>
                <c:pt idx="1">
                  <c:v>75.8</c:v>
                </c:pt>
                <c:pt idx="2">
                  <c:v>43</c:v>
                </c:pt>
                <c:pt idx="3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22B-4C0D-9356-CE32E3AAD01C}"/>
            </c:ext>
          </c:extLst>
        </c:ser>
        <c:firstSliceAng val="0"/>
      </c:pie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>
        <c:manualLayout>
          <c:layoutTarget val="inner"/>
          <c:xMode val="edge"/>
          <c:yMode val="edge"/>
          <c:x val="0.22664657589305717"/>
          <c:y val="3.7261118091730071E-2"/>
          <c:w val="0.52730839966645326"/>
          <c:h val="0.94535036013212859"/>
        </c:manualLayout>
      </c:layout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F3F-443C-879B-C1F5BC474F44}"/>
              </c:ext>
            </c:extLst>
          </c:dPt>
          <c:dPt>
            <c:idx val="1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F3F-443C-879B-C1F5BC474F44}"/>
              </c:ext>
            </c:extLst>
          </c:dPt>
          <c:dPt>
            <c:idx val="2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F3F-443C-879B-C1F5BC474F44}"/>
              </c:ext>
            </c:extLst>
          </c:dPt>
          <c:dPt>
            <c:idx val="3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F3F-443C-879B-C1F5BC474F44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73</c:v>
                </c:pt>
                <c:pt idx="1">
                  <c:v>75.8</c:v>
                </c:pt>
                <c:pt idx="2">
                  <c:v>43</c:v>
                </c:pt>
                <c:pt idx="3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F3F-443C-879B-C1F5BC474F44}"/>
            </c:ext>
          </c:extLst>
        </c:ser>
        <c:firstSliceAng val="0"/>
      </c:pie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מכירות</c:v>
                </c:pt>
              </c:strCache>
            </c:strRef>
          </c:tx>
          <c:spPr>
            <a:solidFill>
              <a:srgbClr val="395970"/>
            </a:solidFill>
            <a:ln w="38100">
              <a:solidFill>
                <a:schemeClr val="bg1"/>
              </a:solidFill>
            </a:ln>
          </c:spPr>
          <c:dPt>
            <c:idx val="0"/>
            <c:spPr>
              <a:solidFill>
                <a:srgbClr val="395970"/>
              </a:solidFill>
              <a:ln w="5715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12F-457F-988E-F9D0C1CC9EDC}"/>
              </c:ext>
            </c:extLst>
          </c:dPt>
          <c:dPt>
            <c:idx val="1"/>
            <c:spPr>
              <a:solidFill>
                <a:srgbClr val="3495B9"/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12F-457F-988E-F9D0C1CC9EDC}"/>
              </c:ext>
            </c:extLst>
          </c:dPt>
          <c:dPt>
            <c:idx val="2"/>
            <c:explosion val="1"/>
            <c:spPr>
              <a:solidFill>
                <a:schemeClr val="accent1">
                  <a:lumMod val="60000"/>
                  <a:lumOff val="40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B12F-457F-988E-F9D0C1CC9EDC}"/>
              </c:ext>
            </c:extLst>
          </c:dPt>
          <c:dPt>
            <c:idx val="3"/>
            <c:spPr>
              <a:solidFill>
                <a:schemeClr val="accent5">
                  <a:lumMod val="75000"/>
                </a:schemeClr>
              </a:solidFill>
              <a:ln w="38100"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B12F-457F-988E-F9D0C1CC9EDC}"/>
              </c:ext>
            </c:extLst>
          </c:dPt>
          <c:cat>
            <c:strRef>
              <c:f>גיליון1!$A$2:$A$5</c:f>
              <c:strCache>
                <c:ptCount val="4"/>
                <c:pt idx="0">
                  <c:v>רבעון ראשון</c:v>
                </c:pt>
                <c:pt idx="1">
                  <c:v>ריבית</c:v>
                </c:pt>
                <c:pt idx="3">
                  <c:v>רבעון שני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55</c:v>
                </c:pt>
                <c:pt idx="1">
                  <c:v>72.400000000000006</c:v>
                </c:pt>
                <c:pt idx="2">
                  <c:v>39</c:v>
                </c:pt>
                <c:pt idx="3">
                  <c:v>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12F-457F-988E-F9D0C1CC9EDC}"/>
            </c:ext>
          </c:extLst>
        </c:ser>
        <c:firstSliceAng val="0"/>
      </c:pieChart>
    </c:plotArea>
    <c:plotVisOnly val="1"/>
    <c:dispBlanksAs val="zero"/>
  </c:chart>
  <c:txPr>
    <a:bodyPr/>
    <a:lstStyle/>
    <a:p>
      <a:pPr>
        <a:defRPr sz="1800" smtId="4294967295"/>
      </a:pPr>
      <a:endParaRPr lang="en-US"/>
    </a:p>
  </c:txPr>
  <c:externalData r:id="rId1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4852</cdr:y>
    </cdr:from>
    <cdr:to>
      <cdr:x>1</cdr:x>
      <cdr:y>0.1591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387424"/>
          <a:ext cx="7338572" cy="883026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pPr algn="ctr"/>
          <a:r>
            <a:rPr lang="en-US" sz="2400" b="1" dirty="0" smtClean="0"/>
            <a:t>The Economic System </a:t>
          </a:r>
          <a:r>
            <a:rPr lang="en-US" sz="1400" b="1" dirty="0" smtClean="0"/>
            <a:t>– </a:t>
          </a:r>
          <a:r>
            <a:rPr lang="en-US" sz="2400" b="1" dirty="0" smtClean="0"/>
            <a:t>Personnel Division</a:t>
          </a:r>
          <a:endParaRPr lang="he-IL" sz="2400" b="1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3333</cdr:x>
      <cdr:y>0.86284</cdr:y>
    </cdr:from>
    <cdr:to>
      <cdr:x>0.98333</cdr:x>
      <cdr:y>0.99864</cdr:y>
    </cdr:to>
    <cdr:sp macro="" textlink="">
      <cdr:nvSpPr>
        <cdr:cNvPr id="2" name="Rectangle 1"/>
        <cdr:cNvSpPr/>
      </cdr:nvSpPr>
      <cdr:spPr>
        <a:xfrm xmlns:a="http://schemas.openxmlformats.org/drawingml/2006/main">
          <a:off x="288032" y="5032626"/>
          <a:ext cx="8208912" cy="79208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he-IL" dirty="0"/>
        </a:p>
      </cdr:txBody>
    </cdr:sp>
  </cdr:relSizeAnchor>
  <cdr:relSizeAnchor xmlns:cdr="http://schemas.openxmlformats.org/drawingml/2006/chartDrawing">
    <cdr:from>
      <cdr:x>0.03665</cdr:x>
      <cdr:y>0.88757</cdr:y>
    </cdr:from>
    <cdr:to>
      <cdr:x>0.11998</cdr:x>
      <cdr:y>0.9616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316672" y="5176875"/>
          <a:ext cx="720080" cy="4320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endParaRPr lang="he-IL" sz="1100" dirty="0"/>
        </a:p>
      </cdr:txBody>
    </cdr:sp>
  </cdr:relSizeAnchor>
  <cdr:relSizeAnchor xmlns:cdr="http://schemas.openxmlformats.org/drawingml/2006/chartDrawing">
    <cdr:from>
      <cdr:x>0.03746</cdr:x>
      <cdr:y>0.86494</cdr:y>
    </cdr:from>
    <cdr:to>
      <cdr:x>0.10413</cdr:x>
      <cdr:y>0.963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23722" y="5044881"/>
          <a:ext cx="576064" cy="576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r>
            <a:rPr lang="en-US" sz="900" b="1" dirty="0" smtClean="0">
              <a:latin typeface="Lucida Sans" panose="020B0602030504020204" pitchFamily="34" charset="0"/>
            </a:rPr>
            <a:t>Local Authorities</a:t>
          </a:r>
          <a:endParaRPr lang="he-IL" sz="900" b="1" dirty="0">
            <a:latin typeface="Lucida Sans" panose="020B0602030504020204" pitchFamily="34" charset="0"/>
          </a:endParaRPr>
        </a:p>
      </cdr:txBody>
    </cdr:sp>
  </cdr:relSizeAnchor>
  <cdr:relSizeAnchor xmlns:cdr="http://schemas.openxmlformats.org/drawingml/2006/chartDrawing">
    <cdr:from>
      <cdr:x>0.32089</cdr:x>
      <cdr:y>0.86367</cdr:y>
    </cdr:from>
    <cdr:to>
      <cdr:x>0.39589</cdr:x>
      <cdr:y>0.96244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2772816" y="5037485"/>
          <a:ext cx="648072" cy="5760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r>
            <a:rPr lang="en-US" sz="1200" b="1" dirty="0" smtClean="0"/>
            <a:t>Police</a:t>
          </a:r>
          <a:endParaRPr lang="he-IL" sz="1200" b="1" dirty="0"/>
        </a:p>
      </cdr:txBody>
    </cdr:sp>
  </cdr:relSizeAnchor>
  <cdr:relSizeAnchor xmlns:cdr="http://schemas.openxmlformats.org/drawingml/2006/chartDrawing">
    <cdr:from>
      <cdr:x>0.39611</cdr:x>
      <cdr:y>0.86271</cdr:y>
    </cdr:from>
    <cdr:to>
      <cdr:x>0.52697</cdr:x>
      <cdr:y>0.93196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3422747" y="5031902"/>
          <a:ext cx="1130746" cy="4038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r>
            <a:rPr lang="en-US" sz="1200" b="1" dirty="0" smtClean="0"/>
            <a:t>Corporations</a:t>
          </a:r>
          <a:endParaRPr lang="he-IL" sz="1200" b="1" dirty="0"/>
        </a:p>
      </cdr:txBody>
    </cdr:sp>
  </cdr:relSizeAnchor>
  <cdr:relSizeAnchor xmlns:cdr="http://schemas.openxmlformats.org/drawingml/2006/chartDrawing">
    <cdr:from>
      <cdr:x>0.49583</cdr:x>
      <cdr:y>0.85519</cdr:y>
    </cdr:from>
    <cdr:to>
      <cdr:x>0.59167</cdr:x>
      <cdr:y>1</cdr:y>
    </cdr:to>
    <cdr:sp macro="" textlink="">
      <cdr:nvSpPr>
        <cdr:cNvPr id="8" name="TextBox 7"/>
        <cdr:cNvSpPr txBox="1"/>
      </cdr:nvSpPr>
      <cdr:spPr>
        <a:xfrm xmlns:a="http://schemas.openxmlformats.org/drawingml/2006/main">
          <a:off x="4284476" y="4988004"/>
          <a:ext cx="828092" cy="84464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1"/>
        <a:lstStyle xmlns:a="http://schemas.openxmlformats.org/drawingml/2006/main"/>
        <a:p xmlns:a="http://schemas.openxmlformats.org/drawingml/2006/main">
          <a:r>
            <a:rPr lang="en-US" sz="1200" b="1" dirty="0" smtClean="0"/>
            <a:t>Academic </a:t>
          </a:r>
        </a:p>
        <a:p xmlns:a="http://schemas.openxmlformats.org/drawingml/2006/main">
          <a:r>
            <a:rPr lang="en-US" sz="1200" b="1" dirty="0" smtClean="0"/>
            <a:t>Institutions</a:t>
          </a:r>
          <a:endParaRPr lang="he-IL" sz="1200" b="1" dirty="0"/>
        </a:p>
      </cdr:txBody>
    </cdr:sp>
  </cdr:relSizeAnchor>
  <cdr:relSizeAnchor xmlns:cdr="http://schemas.openxmlformats.org/drawingml/2006/chartDrawing">
    <cdr:from>
      <cdr:x>0.6069</cdr:x>
      <cdr:y>0.85789</cdr:y>
    </cdr:from>
    <cdr:to>
      <cdr:x>0.72224</cdr:x>
      <cdr:y>0.9542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244222" y="5003786"/>
          <a:ext cx="996651" cy="56192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r>
            <a:rPr lang="en-US" sz="1200" b="1" dirty="0" smtClean="0"/>
            <a:t>Religious Councils</a:t>
          </a:r>
          <a:endParaRPr lang="he-IL" sz="1200" b="1" dirty="0"/>
        </a:p>
      </cdr:txBody>
    </cdr:sp>
  </cdr:relSizeAnchor>
  <cdr:relSizeAnchor xmlns:cdr="http://schemas.openxmlformats.org/drawingml/2006/chartDrawing">
    <cdr:from>
      <cdr:x>0.70833</cdr:x>
      <cdr:y>0.85928</cdr:y>
    </cdr:from>
    <cdr:to>
      <cdr:x>0.84034</cdr:x>
      <cdr:y>0.92187</cdr:y>
    </cdr:to>
    <cdr:sp macro="" textlink="">
      <cdr:nvSpPr>
        <cdr:cNvPr id="10" name="TextBox 9"/>
        <cdr:cNvSpPr txBox="1"/>
      </cdr:nvSpPr>
      <cdr:spPr>
        <a:xfrm xmlns:a="http://schemas.openxmlformats.org/drawingml/2006/main">
          <a:off x="6120680" y="5011867"/>
          <a:ext cx="1140667" cy="3650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r>
            <a:rPr lang="en-US" sz="1200" b="1" dirty="0" smtClean="0"/>
            <a:t>HMOs</a:t>
          </a:r>
          <a:endParaRPr lang="he-IL" sz="1200" b="1" dirty="0"/>
        </a:p>
      </cdr:txBody>
    </cdr:sp>
  </cdr:relSizeAnchor>
  <cdr:relSizeAnchor xmlns:cdr="http://schemas.openxmlformats.org/drawingml/2006/chartDrawing">
    <cdr:from>
      <cdr:x>0.77675</cdr:x>
      <cdr:y>0.85519</cdr:y>
    </cdr:from>
    <cdr:to>
      <cdr:x>0.88333</cdr:x>
      <cdr:y>0.96446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6711839" y="4988004"/>
          <a:ext cx="921009" cy="6373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1"/>
        <a:lstStyle xmlns:a="http://schemas.openxmlformats.org/drawingml/2006/main"/>
        <a:p xmlns:a="http://schemas.openxmlformats.org/drawingml/2006/main">
          <a:r>
            <a:rPr lang="en-US" sz="1200" b="1" dirty="0" smtClean="0"/>
            <a:t>Prison </a:t>
          </a:r>
        </a:p>
        <a:p xmlns:a="http://schemas.openxmlformats.org/drawingml/2006/main">
          <a:r>
            <a:rPr lang="en-US" sz="1200" b="1" dirty="0" smtClean="0"/>
            <a:t>Services</a:t>
          </a:r>
          <a:endParaRPr lang="he-IL" sz="1200" b="1" dirty="0"/>
        </a:p>
      </cdr:txBody>
    </cdr:sp>
  </cdr:relSizeAnchor>
  <cdr:relSizeAnchor xmlns:cdr="http://schemas.openxmlformats.org/drawingml/2006/chartDrawing">
    <cdr:from>
      <cdr:x>0.87393</cdr:x>
      <cdr:y>0.86683</cdr:y>
    </cdr:from>
    <cdr:to>
      <cdr:x>0.99011</cdr:x>
      <cdr:y>0.96446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7551632" y="5055914"/>
          <a:ext cx="1003869" cy="56942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1"/>
        <a:lstStyle xmlns:a="http://schemas.openxmlformats.org/drawingml/2006/main"/>
        <a:p xmlns:a="http://schemas.openxmlformats.org/drawingml/2006/main">
          <a:r>
            <a:rPr lang="en-US" sz="1200" b="1" dirty="0" smtClean="0">
              <a:latin typeface="+mj-lt"/>
            </a:rPr>
            <a:t>Municipal Companies</a:t>
          </a:r>
          <a:endParaRPr lang="he-IL" sz="1200" b="1" dirty="0">
            <a:latin typeface="+mj-lt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quarter" idx="1"/>
          </p:nvPr>
        </p:nvSpPr>
        <p:spPr>
          <a:xfrm>
            <a:off x="1588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C128C92D-9377-4068-A42A-53E2854B2F68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2"/>
          </p:nvPr>
        </p:nvSpPr>
        <p:spPr>
          <a:xfrm>
            <a:off x="388620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3"/>
          </p:nvPr>
        </p:nvSpPr>
        <p:spPr>
          <a:xfrm>
            <a:off x="1588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1B5521C5-0B7E-41D8-A04F-BF5D478F7331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6917193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עליונה 1"/>
          <p:cNvSpPr>
            <a:spLocks noGrp="1"/>
          </p:cNvSpPr>
          <p:nvPr>
            <p:ph type="hdr" sz="quarter"/>
          </p:nvPr>
        </p:nvSpPr>
        <p:spPr>
          <a:xfrm>
            <a:off x="388620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idx="1"/>
          </p:nvPr>
        </p:nvSpPr>
        <p:spPr>
          <a:xfrm>
            <a:off x="1588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/>
          <a:lstStyle>
            <a:lvl1pPr algn="l">
              <a:defRPr sz="1200"/>
            </a:lvl1pPr>
          </a:lstStyle>
          <a:p>
            <a:fld id="{C18AE898-96D0-4ABE-B753-2C5D9F2981A4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4" name="מציין מיקום של תמונת שקופית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מציין מיקום של הערות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1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4"/>
          </p:nvPr>
        </p:nvSpPr>
        <p:spPr>
          <a:xfrm>
            <a:off x="388620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r">
              <a:defRPr sz="1200"/>
            </a:lvl1pPr>
          </a:lstStyle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5"/>
          </p:nvPr>
        </p:nvSpPr>
        <p:spPr>
          <a:xfrm>
            <a:off x="1588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1" anchor="b"/>
          <a:lstStyle>
            <a:lvl1pPr algn="l">
              <a:defRPr sz="1200"/>
            </a:lvl1pPr>
          </a:lstStyle>
          <a:p>
            <a:fld id="{0D4DD969-98C2-4C22-B0F6-55FD4E9E8F31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3115836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r" defTabSz="914400" rtl="1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DD969-98C2-4C22-B0F6-55FD4E9E8F31}" type="slidenum">
              <a:rPr lang="he-IL" smtClean="0"/>
              <a:pPr/>
              <a:t>6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673525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155A69-1E5F-439C-A8DC-0EF8C6D1C124}" type="slidenum">
              <a:rPr lang="he-IL" smtClean="0">
                <a:solidFill>
                  <a:prstClr val="black"/>
                </a:solidFill>
              </a:rPr>
              <a:pPr/>
              <a:t>45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55577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/>
              <a:t>צה"ל לא ביקש תוספות בגין המב"מ. ת"ע צה"ל לא לוקחת בחשבון מלחמה (רזרבות חשכ"ל).</a:t>
            </a:r>
          </a:p>
          <a:p>
            <a:r>
              <a:rPr lang="he-IL"/>
              <a:t>הפסקת עבודות בקיר = 2 מש"ח </a:t>
            </a:r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>
                <a:solidFill>
                  <a:prstClr val="black"/>
                </a:solidFill>
              </a:rPr>
              <a:pPr/>
              <a:t>10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30281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 err="1"/>
              <a:t>מב"מ הוא האופציה הכלכלית הטובה ביותר הנותנת שקט למדינת ישראל.</a:t>
            </a:r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>
                <a:solidFill>
                  <a:prstClr val="black"/>
                </a:solidFill>
              </a:rPr>
              <a:pPr/>
              <a:t>11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29651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e-IL"/>
              <a:t>תקציב החינוך: 55 דפים , תקציב הביטחון: 680 דפים.</a:t>
            </a:r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/>
              <a:pPr/>
              <a:t>20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069870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/>
              <a:pPr/>
              <a:t>21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2116996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מונת שקופית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מציין מיקום של הערות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C0C946-14F9-43BF-9236-68404CBA1BB2}" type="slidenum">
              <a:rPr lang="he-IL" smtClean="0">
                <a:solidFill>
                  <a:prstClr val="black"/>
                </a:solidFill>
              </a:rPr>
              <a:pPr/>
              <a:t>22</a:t>
            </a:fld>
            <a:endParaRPr lang="he-I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064377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DD969-98C2-4C22-B0F6-55FD4E9E8F31}" type="slidenum">
              <a:rPr lang="he-IL" smtClean="0"/>
              <a:pPr/>
              <a:t>35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155726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DD969-98C2-4C22-B0F6-55FD4E9E8F31}" type="slidenum">
              <a:rPr lang="he-IL" smtClean="0"/>
              <a:pPr/>
              <a:t>37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9720123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4DD969-98C2-4C22-B0F6-55FD4E9E8F31}" type="slidenum">
              <a:rPr lang="he-IL" smtClean="0"/>
              <a:pPr/>
              <a:t>38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31721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שקופית כותר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כותרת משנה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e-IL"/>
              <a:t>לחץ כדי לערוך סגנון כותרת משנה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3493794762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כותרת וטקסט אנכ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343049403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כותרת אנכית וטקס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אנכית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טקסט אנכי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2969135851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1622412" y="6580208"/>
            <a:ext cx="504056" cy="365125"/>
          </a:xfrm>
          <a:prstGeom prst="rect">
            <a:avLst/>
          </a:prstGeom>
        </p:spPr>
        <p:txBody>
          <a:bodyPr/>
          <a:lstStyle>
            <a:lvl1pPr>
              <a:defRPr lang="he-IL" sz="1200" b="1" kern="1200">
                <a:ln w="17780" cmpd="sng">
                  <a:noFill/>
                  <a:prstDash val="solid"/>
                  <a:miter lim="800000"/>
                </a:ln>
                <a:solidFill>
                  <a:sysClr val="windowText" lastClr="000000"/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Tahoma" pitchFamily="34" charset="0"/>
                <a:ea typeface="+mn-ea"/>
                <a:cs typeface="Tahoma" pitchFamily="34" charset="0"/>
              </a:defRPr>
            </a:lvl1pPr>
          </a:lstStyle>
          <a:p>
            <a:fld id="{7F87AD1C-116E-4B2B-8726-4ED79EF87723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38888318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0887540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08875404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כותרת ותוכ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92859901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כותרת מקטע עליונ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r">
              <a:defRPr sz="4000" b="1" cap="all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254423776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שני תכנים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266619139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השוואה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4" name="מציין מיקום תוכן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5" name="מציין מיקום טקסט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6" name="מציין מיקום תוכן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7" name="מציין מיקום של תאריך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8" name="מציין מיקום של כותרת תחתונה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9" name="מציין מיקום של מספר שקופית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90284070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כותרת בלבד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אריך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4" name="מציין מיקום של כותרת תחתונה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5" name="מציין מיקום של מספר שקופית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230546466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ריק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תאריך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3" name="מציין מיקום של כותרת תחתונה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4" name="מציין מיקום של מספר שקופית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508386089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תוכן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תוכן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1932578461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תמונה עם כיתוב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r">
              <a:defRPr sz="2000" b="1"/>
            </a:lvl1pPr>
          </a:lstStyle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של תמונה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e-IL"/>
          </a:p>
        </p:txBody>
      </p:sp>
      <p:sp>
        <p:nvSpPr>
          <p:cNvPr id="4" name="מציין מיקום טקסט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e-IL"/>
              <a:t>לחץ כדי לערוך סגנונות טקסט של תבנית בסיס</a:t>
            </a:r>
          </a:p>
        </p:txBody>
      </p:sp>
      <p:sp>
        <p:nvSpPr>
          <p:cNvPr id="5" name="מציין מיקום של תאריך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6" name="מציין מיקום של כותרת תחתונה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e-IL"/>
          </a:p>
        </p:txBody>
      </p:sp>
      <p:sp>
        <p:nvSpPr>
          <p:cNvPr id="7" name="מציין מיקום של מספר שקופית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278076655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ציין מיקום של כותרת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1" anchor="ctr">
            <a:normAutofit/>
          </a:bodyPr>
          <a:lstStyle/>
          <a:p>
            <a:r>
              <a:rPr lang="he-IL"/>
              <a:t>לחץ כדי לערוך סגנון כותרת של תבנית בסיס</a:t>
            </a:r>
          </a:p>
        </p:txBody>
      </p:sp>
      <p:sp>
        <p:nvSpPr>
          <p:cNvPr id="3" name="מציין מיקום טקסט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1">
            <a:normAutofit/>
          </a:bodyPr>
          <a:lstStyle/>
          <a:p>
            <a:pPr lvl="0"/>
            <a:r>
              <a:rPr lang="he-IL"/>
              <a:t>לחץ כדי לערוך סגנונות טקסט של תבנית בסיס</a:t>
            </a:r>
          </a:p>
          <a:p>
            <a:pPr lvl="1"/>
            <a:r>
              <a:rPr lang="he-IL"/>
              <a:t>רמה שנייה</a:t>
            </a:r>
          </a:p>
          <a:p>
            <a:pPr lvl="2"/>
            <a:r>
              <a:rPr lang="he-IL"/>
              <a:t>רמה שלישית</a:t>
            </a:r>
          </a:p>
          <a:p>
            <a:pPr lvl="3"/>
            <a:r>
              <a:rPr lang="he-IL"/>
              <a:t>רמה רביעית</a:t>
            </a:r>
          </a:p>
          <a:p>
            <a:pPr lvl="4"/>
            <a:r>
              <a:rPr lang="he-IL"/>
              <a:t>רמה חמישית</a:t>
            </a:r>
          </a:p>
        </p:txBody>
      </p:sp>
      <p:sp>
        <p:nvSpPr>
          <p:cNvPr id="4" name="מציין מיקום של תאריך 3"/>
          <p:cNvSpPr>
            <a:spLocks noGrp="1"/>
          </p:cNvSpPr>
          <p:nvPr>
            <p:ph type="dt" sz="half" idx="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2D6E5F-64A2-4A02-BF9E-113E3E1275CE}" type="datetimeFigureOut">
              <a:rPr lang="he-IL" smtClean="0"/>
              <a:pPr/>
              <a:t>י"ב/ניסן/תשע"ט</a:t>
            </a:fld>
            <a:endParaRPr lang="he-IL"/>
          </a:p>
        </p:txBody>
      </p:sp>
      <p:sp>
        <p:nvSpPr>
          <p:cNvPr id="5" name="מציין מיקום של כותרת תחתונה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e-IL"/>
          </a:p>
        </p:txBody>
      </p:sp>
      <p:sp>
        <p:nvSpPr>
          <p:cNvPr id="6" name="מציין מיקום של מספר שקופית 5"/>
          <p:cNvSpPr>
            <a:spLocks noGrp="1"/>
          </p:cNvSpPr>
          <p:nvPr>
            <p:ph type="sldNum" sz="quarter" idx="4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5351E7-4E39-4F70-9199-6C6B5E997E22}" type="slidenum">
              <a:rPr lang="he-IL" smtClean="0"/>
              <a:pPr/>
              <a:t>‹#›</a:t>
            </a:fld>
            <a:endParaRPr lang="he-IL"/>
          </a:p>
        </p:txBody>
      </p:sp>
      <p:pic>
        <p:nvPicPr>
          <p:cNvPr id="7" name="Picture 2" descr="Y:\תמונות למצגת\סמלים\לוגו יועכל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6165304"/>
            <a:ext cx="410113" cy="6980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תרשים זרימה: השהיה 7"/>
          <p:cNvSpPr/>
          <p:nvPr userDrawn="1"/>
        </p:nvSpPr>
        <p:spPr>
          <a:xfrm flipH="1">
            <a:off x="8676456" y="6459572"/>
            <a:ext cx="467544" cy="355685"/>
          </a:xfrm>
          <a:prstGeom prst="flowChartDelay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ציין מיקום של מספר שקופית 1"/>
          <p:cNvSpPr txBox="1"/>
          <p:nvPr userDrawn="1"/>
        </p:nvSpPr>
        <p:spPr>
          <a:xfrm>
            <a:off x="7020272" y="646134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1" anchor="ctr"/>
          <a:lstStyle>
            <a:defPPr>
              <a:defRPr lang="he-IL"/>
            </a:defPPr>
            <a:lvl1pPr algn="r" rtl="1" fontAlgn="auto">
              <a:spcBef>
                <a:spcPct val="0"/>
              </a:spcBef>
              <a:spcAft>
                <a:spcPct val="0"/>
              </a:spcAft>
              <a:defRPr sz="1200" kern="120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lvl1pPr>
            <a:lvl2pPr marL="4572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2pPr>
            <a:lvl3pPr marL="9144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3pPr>
            <a:lvl4pPr marL="13716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4pPr>
            <a:lvl5pPr marL="1828800" algn="r" rtl="1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5pPr>
            <a:lvl6pPr marL="22860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6pPr>
            <a:lvl7pPr marL="27432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7pPr>
            <a:lvl8pPr marL="32004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8pPr>
            <a:lvl9pPr marL="3657600" algn="r" defTabSz="914400" rtl="1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fld id="{5C786D84-31E4-4F15-A666-C0011551149D}" type="slidenum">
              <a:rPr lang="he-IL" smtClean="0"/>
              <a:pPr>
                <a:defRPr/>
              </a:pPr>
              <a:t>‹#›</a:t>
            </a:fld>
            <a:endParaRPr lang="he-IL"/>
          </a:p>
        </p:txBody>
      </p:sp>
      <p:sp>
        <p:nvSpPr>
          <p:cNvPr id="10" name="TextBox 9"/>
          <p:cNvSpPr txBox="1"/>
          <p:nvPr userDrawn="1"/>
        </p:nvSpPr>
        <p:spPr>
          <a:xfrm>
            <a:off x="0" y="6669360"/>
            <a:ext cx="9143152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1200" dirty="0" smtClean="0">
                <a:latin typeface="Gisha" panose="020B0502040204020203" pitchFamily="34" charset="-79"/>
                <a:cs typeface="Gisha" panose="020B0502040204020203" pitchFamily="34" charset="-79"/>
              </a:rPr>
              <a:t>FOUO</a:t>
            </a:r>
            <a:endParaRPr lang="he-IL" sz="1200" dirty="0">
              <a:latin typeface="Gisha" panose="020B0502040204020203" pitchFamily="34" charset="-79"/>
              <a:cs typeface="Gisha" panose="020B0502040204020203" pitchFamily="34" charset="-79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 rot="19846495">
            <a:off x="1522935" y="1920714"/>
            <a:ext cx="6015415" cy="264687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he-IL" sz="16600" dirty="0">
                <a:ln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Gisha" panose="020B0502040204020203" pitchFamily="34" charset="-79"/>
                <a:cs typeface="Gisha" panose="020B0502040204020203" pitchFamily="34" charset="-79"/>
              </a:rPr>
              <a:t>טיוטה</a:t>
            </a:r>
          </a:p>
        </p:txBody>
      </p:sp>
    </p:spTree>
    <p:extLst>
      <p:ext uri="{BB962C8B-B14F-4D97-AF65-F5344CB8AC3E}">
        <p14:creationId xmlns="" xmlns:p14="http://schemas.microsoft.com/office/powerpoint/2010/main" val="2160271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</p:sldLayoutIdLst>
  <p:transition/>
  <p:txStyles>
    <p:titleStyle>
      <a:lvl1pPr algn="ctr" defTabSz="914400" rtl="1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r" defTabSz="914400" rtl="1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r" defTabSz="914400" rtl="1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r" defTabSz="914400" rtl="1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r" defTabSz="914400" rtl="1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r" defTabSz="914400" rtl="1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e-IL"/>
      </a:defPPr>
      <a:lvl1pPr marL="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r" defTabSz="914400" rtl="1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chart" Target="../charts/chart3.xml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10" Type="http://schemas.microsoft.com/office/2007/relationships/hdphoto" Target="../media/hdphoto3.wdp"/><Relationship Id="rId4" Type="http://schemas.openxmlformats.org/officeDocument/2006/relationships/chart" Target="../charts/chart4.xml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1.png"/><Relationship Id="rId4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microsoft.com/office/2007/relationships/hdphoto" Target="../media/hdphoto4.wdp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Relationship Id="rId4" Type="http://schemas.microsoft.com/office/2007/relationships/hdphoto" Target="../media/hdphoto4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27.xml"/><Relationship Id="rId21" Type="http://schemas.openxmlformats.org/officeDocument/2006/relationships/tags" Target="../tags/tag22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84" Type="http://schemas.openxmlformats.org/officeDocument/2006/relationships/tags" Target="../tags/tag85.xml"/><Relationship Id="rId89" Type="http://schemas.openxmlformats.org/officeDocument/2006/relationships/tags" Target="../tags/tag90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07" Type="http://schemas.openxmlformats.org/officeDocument/2006/relationships/slideLayout" Target="../slideLayouts/slideLayout14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87" Type="http://schemas.openxmlformats.org/officeDocument/2006/relationships/tags" Target="../tags/tag88.xml"/><Relationship Id="rId102" Type="http://schemas.openxmlformats.org/officeDocument/2006/relationships/tags" Target="../tags/tag103.xml"/><Relationship Id="rId5" Type="http://schemas.openxmlformats.org/officeDocument/2006/relationships/tags" Target="../tags/tag6.xml"/><Relationship Id="rId61" Type="http://schemas.openxmlformats.org/officeDocument/2006/relationships/tags" Target="../tags/tag62.xml"/><Relationship Id="rId82" Type="http://schemas.openxmlformats.org/officeDocument/2006/relationships/tags" Target="../tags/tag83.xml"/><Relationship Id="rId90" Type="http://schemas.openxmlformats.org/officeDocument/2006/relationships/tags" Target="../tags/tag91.xml"/><Relationship Id="rId95" Type="http://schemas.openxmlformats.org/officeDocument/2006/relationships/tags" Target="../tags/tag96.xml"/><Relationship Id="rId19" Type="http://schemas.openxmlformats.org/officeDocument/2006/relationships/tags" Target="../tags/tag2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77" Type="http://schemas.openxmlformats.org/officeDocument/2006/relationships/tags" Target="../tags/tag78.xml"/><Relationship Id="rId100" Type="http://schemas.openxmlformats.org/officeDocument/2006/relationships/tags" Target="../tags/tag101.xml"/><Relationship Id="rId105" Type="http://schemas.openxmlformats.org/officeDocument/2006/relationships/tags" Target="../tags/tag106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80" Type="http://schemas.openxmlformats.org/officeDocument/2006/relationships/tags" Target="../tags/tag81.xml"/><Relationship Id="rId85" Type="http://schemas.openxmlformats.org/officeDocument/2006/relationships/tags" Target="../tags/tag86.xml"/><Relationship Id="rId93" Type="http://schemas.openxmlformats.org/officeDocument/2006/relationships/tags" Target="../tags/tag94.xml"/><Relationship Id="rId98" Type="http://schemas.openxmlformats.org/officeDocument/2006/relationships/tags" Target="../tags/tag99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103" Type="http://schemas.openxmlformats.org/officeDocument/2006/relationships/tags" Target="../tags/tag104.xml"/><Relationship Id="rId108" Type="http://schemas.openxmlformats.org/officeDocument/2006/relationships/chart" Target="../charts/chart12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83" Type="http://schemas.openxmlformats.org/officeDocument/2006/relationships/tags" Target="../tags/tag84.xml"/><Relationship Id="rId88" Type="http://schemas.openxmlformats.org/officeDocument/2006/relationships/tags" Target="../tags/tag89.xml"/><Relationship Id="rId91" Type="http://schemas.openxmlformats.org/officeDocument/2006/relationships/tags" Target="../tags/tag92.xml"/><Relationship Id="rId96" Type="http://schemas.openxmlformats.org/officeDocument/2006/relationships/tags" Target="../tags/tag97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Relationship Id="rId106" Type="http://schemas.openxmlformats.org/officeDocument/2006/relationships/tags" Target="../tags/tag107.xml"/><Relationship Id="rId10" Type="http://schemas.openxmlformats.org/officeDocument/2006/relationships/tags" Target="../tags/tag11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81" Type="http://schemas.openxmlformats.org/officeDocument/2006/relationships/tags" Target="../tags/tag82.xml"/><Relationship Id="rId86" Type="http://schemas.openxmlformats.org/officeDocument/2006/relationships/tags" Target="../tags/tag87.xml"/><Relationship Id="rId94" Type="http://schemas.openxmlformats.org/officeDocument/2006/relationships/tags" Target="../tags/tag95.xml"/><Relationship Id="rId99" Type="http://schemas.openxmlformats.org/officeDocument/2006/relationships/tags" Target="../tags/tag100.xml"/><Relationship Id="rId101" Type="http://schemas.openxmlformats.org/officeDocument/2006/relationships/tags" Target="../tags/tag10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9" Type="http://schemas.openxmlformats.org/officeDocument/2006/relationships/tags" Target="../tags/tag40.xml"/><Relationship Id="rId109" Type="http://schemas.openxmlformats.org/officeDocument/2006/relationships/chart" Target="../charts/chart13.xml"/><Relationship Id="rId34" Type="http://schemas.openxmlformats.org/officeDocument/2006/relationships/tags" Target="../tags/tag35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76" Type="http://schemas.openxmlformats.org/officeDocument/2006/relationships/tags" Target="../tags/tag77.xml"/><Relationship Id="rId97" Type="http://schemas.openxmlformats.org/officeDocument/2006/relationships/tags" Target="../tags/tag98.xml"/><Relationship Id="rId104" Type="http://schemas.openxmlformats.org/officeDocument/2006/relationships/tags" Target="../tags/tag105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92" Type="http://schemas.openxmlformats.org/officeDocument/2006/relationships/tags" Target="../tags/tag9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18" Type="http://schemas.openxmlformats.org/officeDocument/2006/relationships/tags" Target="../tags/tag125.xml"/><Relationship Id="rId3" Type="http://schemas.openxmlformats.org/officeDocument/2006/relationships/tags" Target="../tags/tag110.xml"/><Relationship Id="rId21" Type="http://schemas.openxmlformats.org/officeDocument/2006/relationships/tags" Target="../tags/tag128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17" Type="http://schemas.openxmlformats.org/officeDocument/2006/relationships/tags" Target="../tags/tag124.xml"/><Relationship Id="rId25" Type="http://schemas.openxmlformats.org/officeDocument/2006/relationships/chart" Target="../charts/chart14.xml"/><Relationship Id="rId2" Type="http://schemas.openxmlformats.org/officeDocument/2006/relationships/tags" Target="../tags/tag109.xml"/><Relationship Id="rId16" Type="http://schemas.openxmlformats.org/officeDocument/2006/relationships/tags" Target="../tags/tag123.xml"/><Relationship Id="rId20" Type="http://schemas.openxmlformats.org/officeDocument/2006/relationships/tags" Target="../tags/tag127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24" Type="http://schemas.openxmlformats.org/officeDocument/2006/relationships/image" Target="../media/image34.png"/><Relationship Id="rId5" Type="http://schemas.openxmlformats.org/officeDocument/2006/relationships/tags" Target="../tags/tag112.xml"/><Relationship Id="rId15" Type="http://schemas.openxmlformats.org/officeDocument/2006/relationships/tags" Target="../tags/tag122.xml"/><Relationship Id="rId23" Type="http://schemas.openxmlformats.org/officeDocument/2006/relationships/image" Target="../media/image33.png"/><Relationship Id="rId10" Type="http://schemas.openxmlformats.org/officeDocument/2006/relationships/tags" Target="../tags/tag117.xml"/><Relationship Id="rId19" Type="http://schemas.openxmlformats.org/officeDocument/2006/relationships/tags" Target="../tags/tag126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tags" Target="../tags/tag121.xml"/><Relationship Id="rId22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5.pn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5" Type="http://schemas.microsoft.com/office/2007/relationships/hdphoto" Target="../media/hdphoto5.wdp"/><Relationship Id="rId4" Type="http://schemas.openxmlformats.org/officeDocument/2006/relationships/image" Target="../media/image4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microsoft.com/office/2007/relationships/hdphoto" Target="../media/hdphoto6.wdp"/><Relationship Id="rId7" Type="http://schemas.microsoft.com/office/2007/relationships/hdphoto" Target="../media/hdphoto8.wdp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7.png"/><Relationship Id="rId5" Type="http://schemas.microsoft.com/office/2007/relationships/hdphoto" Target="../media/hdphoto7.wdp"/><Relationship Id="rId4" Type="http://schemas.openxmlformats.org/officeDocument/2006/relationships/image" Target="../media/image46.png"/><Relationship Id="rId9" Type="http://schemas.microsoft.com/office/2007/relationships/hdphoto" Target="../media/hdphoto9.wdp"/></Relationships>
</file>

<file path=ppt/slides/_rels/slide32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33.xml.rels><?xml version="1.0" encoding="UTF-8" standalone="yes"?>
<Relationships xmlns="http://schemas.openxmlformats.org/package/2006/relationships"><Relationship Id="rId8" Type="http://schemas.microsoft.com/office/2007/relationships/hdphoto" Target="../media/hdphoto13.wdp"/><Relationship Id="rId3" Type="http://schemas.openxmlformats.org/officeDocument/2006/relationships/image" Target="../media/image56.png"/><Relationship Id="rId7" Type="http://schemas.openxmlformats.org/officeDocument/2006/relationships/image" Target="../media/image58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2.wdp"/><Relationship Id="rId5" Type="http://schemas.openxmlformats.org/officeDocument/2006/relationships/image" Target="../media/image57.png"/><Relationship Id="rId10" Type="http://schemas.microsoft.com/office/2007/relationships/hdphoto" Target="../media/hdphoto14.wdp"/><Relationship Id="rId4" Type="http://schemas.microsoft.com/office/2007/relationships/hdphoto" Target="../media/hdphoto11.wdp"/><Relationship Id="rId9" Type="http://schemas.openxmlformats.org/officeDocument/2006/relationships/image" Target="../media/image5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1.png"/></Relationships>
</file>

<file path=ppt/slides/_rels/slide36.xml.rels><?xml version="1.0" encoding="UTF-8" standalone="yes"?>
<Relationships xmlns="http://schemas.openxmlformats.org/package/2006/relationships"><Relationship Id="rId8" Type="http://schemas.microsoft.com/office/2007/relationships/hdphoto" Target="../media/hdphoto16.wdp"/><Relationship Id="rId13" Type="http://schemas.openxmlformats.org/officeDocument/2006/relationships/image" Target="../media/image67.png"/><Relationship Id="rId18" Type="http://schemas.openxmlformats.org/officeDocument/2006/relationships/image" Target="../media/image72.png"/><Relationship Id="rId3" Type="http://schemas.openxmlformats.org/officeDocument/2006/relationships/image" Target="../media/image62.png"/><Relationship Id="rId21" Type="http://schemas.openxmlformats.org/officeDocument/2006/relationships/image" Target="../media/image75.png"/><Relationship Id="rId7" Type="http://schemas.openxmlformats.org/officeDocument/2006/relationships/image" Target="../media/image64.png"/><Relationship Id="rId12" Type="http://schemas.openxmlformats.org/officeDocument/2006/relationships/image" Target="../media/image66.png"/><Relationship Id="rId17" Type="http://schemas.openxmlformats.org/officeDocument/2006/relationships/image" Target="../media/image71.png"/><Relationship Id="rId2" Type="http://schemas.openxmlformats.org/officeDocument/2006/relationships/chart" Target="../charts/chart15.xml"/><Relationship Id="rId16" Type="http://schemas.openxmlformats.org/officeDocument/2006/relationships/image" Target="../media/image70.png"/><Relationship Id="rId20" Type="http://schemas.openxmlformats.org/officeDocument/2006/relationships/image" Target="../media/image74.png"/><Relationship Id="rId1" Type="http://schemas.openxmlformats.org/officeDocument/2006/relationships/slideLayout" Target="../slideLayouts/slideLayout7.xml"/><Relationship Id="rId6" Type="http://schemas.microsoft.com/office/2007/relationships/hdphoto" Target="../media/hdphoto15.wdp"/><Relationship Id="rId11" Type="http://schemas.openxmlformats.org/officeDocument/2006/relationships/hyperlink" Target="https://www.google.co.il/url?sa=i&amp;rct=j&amp;q=&amp;esrc=s&amp;source=images&amp;cd=&amp;cad=rja&amp;uact=8&amp;ved=0ahUKEwihr7WVsLrJAhUDORoKHVnsAk4QjRwIBw&amp;url=https://www.shabak.gov.il/heritage/pages/lobymoreshet.aspx&amp;psig=AFQjCNGKW_pU2Y7AZK9H69wRoUOFubxNjQ&amp;ust=1449049491007663" TargetMode="External"/><Relationship Id="rId5" Type="http://schemas.openxmlformats.org/officeDocument/2006/relationships/image" Target="../media/image63.png"/><Relationship Id="rId15" Type="http://schemas.openxmlformats.org/officeDocument/2006/relationships/image" Target="../media/image69.png"/><Relationship Id="rId10" Type="http://schemas.openxmlformats.org/officeDocument/2006/relationships/image" Target="../media/image65.png"/><Relationship Id="rId19" Type="http://schemas.openxmlformats.org/officeDocument/2006/relationships/image" Target="../media/image73.png"/><Relationship Id="rId4" Type="http://schemas.openxmlformats.org/officeDocument/2006/relationships/image" Target="../media/image26.png"/><Relationship Id="rId9" Type="http://schemas.openxmlformats.org/officeDocument/2006/relationships/hyperlink" Target="https://www.google.co.il/url?sa=i&amp;rct=j&amp;q=&amp;esrc=s&amp;source=images&amp;cd=&amp;cad=rja&amp;uact=8&amp;ved=0ahUKEwihr7WVsLrJAhUDORoKHVnsAk4QjRwIBw&amp;url=https://he.wikipedia.org/wiki/%D7%94%D7%9E%D7%95%D7%A1%D7%93_%D7%9C%D7%9E%D7%95%D7%93%D7%99%D7%A2%D7%99%D7%9F_%D7%95%D7%9C%D7%AA%D7%A4%D7%A7%D7%99%D7%93%D7%99%D7%9D_%D7%9E%D7%99%D7%95%D7%97%D7%93%D7%99%D7%9D&amp;psig=AFQjCNGKW_pU2Y7AZK9H69wRoUOFubxNjQ&amp;ust=1449049491007663" TargetMode="External"/><Relationship Id="rId14" Type="http://schemas.openxmlformats.org/officeDocument/2006/relationships/image" Target="../media/image68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microsoft.com/office/2007/relationships/hdphoto" Target="../media/hdphoto21.wdp"/><Relationship Id="rId3" Type="http://schemas.openxmlformats.org/officeDocument/2006/relationships/image" Target="../media/image26.png"/><Relationship Id="rId7" Type="http://schemas.microsoft.com/office/2007/relationships/hdphoto" Target="../media/hdphoto18.wdp"/><Relationship Id="rId12" Type="http://schemas.openxmlformats.org/officeDocument/2006/relationships/image" Target="../media/image84.pn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11" Type="http://schemas.microsoft.com/office/2007/relationships/hdphoto" Target="../media/hdphoto20.wdp"/><Relationship Id="rId5" Type="http://schemas.microsoft.com/office/2007/relationships/hdphoto" Target="../media/hdphoto17.wdp"/><Relationship Id="rId10" Type="http://schemas.openxmlformats.org/officeDocument/2006/relationships/image" Target="../media/image83.png"/><Relationship Id="rId4" Type="http://schemas.openxmlformats.org/officeDocument/2006/relationships/image" Target="../media/image80.png"/><Relationship Id="rId9" Type="http://schemas.microsoft.com/office/2007/relationships/hdphoto" Target="../media/hdphoto19.wdp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13" Type="http://schemas.microsoft.com/office/2007/relationships/hdphoto" Target="../media/hdphoto21.wdp"/><Relationship Id="rId3" Type="http://schemas.openxmlformats.org/officeDocument/2006/relationships/image" Target="../media/image26.png"/><Relationship Id="rId7" Type="http://schemas.microsoft.com/office/2007/relationships/hdphoto" Target="../media/hdphoto18.wdp"/><Relationship Id="rId12" Type="http://schemas.openxmlformats.org/officeDocument/2006/relationships/image" Target="../media/image84.pn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81.png"/><Relationship Id="rId11" Type="http://schemas.microsoft.com/office/2007/relationships/hdphoto" Target="../media/hdphoto20.wdp"/><Relationship Id="rId5" Type="http://schemas.microsoft.com/office/2007/relationships/hdphoto" Target="../media/hdphoto17.wdp"/><Relationship Id="rId10" Type="http://schemas.openxmlformats.org/officeDocument/2006/relationships/image" Target="../media/image83.png"/><Relationship Id="rId4" Type="http://schemas.openxmlformats.org/officeDocument/2006/relationships/image" Target="../media/image80.png"/><Relationship Id="rId9" Type="http://schemas.microsoft.com/office/2007/relationships/hdphoto" Target="../media/hdphoto19.wdp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microsoft.com/office/2007/relationships/hdphoto" Target="../media/hdphoto22.wdp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6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em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32656"/>
            <a:ext cx="9144000" cy="2862322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0">
              <a:defRPr/>
            </a:pPr>
            <a:r>
              <a:rPr lang="en-US" sz="6000" dirty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</a:t>
            </a:r>
            <a:r>
              <a:rPr lang="en-US" sz="600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Defense Budget</a:t>
            </a:r>
            <a:endParaRPr lang="en-US" sz="600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>
              <a:defRPr/>
            </a:pPr>
            <a:r>
              <a:rPr lang="en-US" sz="6000" dirty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hallenges and </a:t>
            </a:r>
            <a:endParaRPr lang="en-US" sz="6000" dirty="0" smtClean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>
              <a:defRPr/>
            </a:pPr>
            <a:r>
              <a:rPr lang="en-US" sz="600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Looking Forward</a:t>
            </a:r>
            <a:endParaRPr lang="he-IL" sz="600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5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63459" y="3132116"/>
            <a:ext cx="1417081" cy="241187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540568" y="6021288"/>
            <a:ext cx="9684568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320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INDC Lecture, </a:t>
            </a:r>
            <a:r>
              <a:rPr lang="en-US" sz="3200" dirty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pril 18, 2019</a:t>
            </a:r>
            <a:endParaRPr lang="he-IL" sz="320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4897175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8270" y="7448"/>
            <a:ext cx="9162270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Operational 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ctivity </a:t>
            </a: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from a 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ary </a:t>
            </a: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ngle - How </a:t>
            </a: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M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uch </a:t>
            </a: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oes </a:t>
            </a: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it 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Cost </a:t>
            </a:r>
            <a:r>
              <a:rPr lang="en-US" sz="2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U</a:t>
            </a: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s?</a:t>
            </a:r>
            <a:endParaRPr lang="he-IL" sz="2000" dirty="0" smtClean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2018, NIS Millions</a:t>
            </a:r>
            <a:endParaRPr lang="he-IL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-2460624" y="-1251520"/>
            <a:ext cx="914400" cy="914400"/>
          </a:xfrm>
          <a:prstGeom prst="rect">
            <a:avLst/>
          </a:prstGeom>
          <a:solidFill>
            <a:srgbClr val="49A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1350962" y="-1251520"/>
            <a:ext cx="914400" cy="914400"/>
          </a:xfrm>
          <a:prstGeom prst="rect">
            <a:avLst/>
          </a:prstGeom>
          <a:solidFill>
            <a:srgbClr val="F7BF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852488" y="-1251520"/>
            <a:ext cx="914400" cy="914400"/>
          </a:xfrm>
          <a:prstGeom prst="rect">
            <a:avLst/>
          </a:prstGeom>
          <a:solidFill>
            <a:srgbClr val="7678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-273049" y="-1248345"/>
            <a:ext cx="914400" cy="914400"/>
          </a:xfrm>
          <a:prstGeom prst="rect">
            <a:avLst/>
          </a:prstGeom>
          <a:solidFill>
            <a:srgbClr val="2E2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grpSp>
        <p:nvGrpSpPr>
          <p:cNvPr id="45" name="קבוצה 11"/>
          <p:cNvGrpSpPr>
            <a:grpSpLocks noChangeAspect="1"/>
          </p:cNvGrpSpPr>
          <p:nvPr/>
        </p:nvGrpSpPr>
        <p:grpSpPr>
          <a:xfrm flipH="1">
            <a:off x="7020272" y="934494"/>
            <a:ext cx="1964114" cy="622298"/>
            <a:chOff x="4141949" y="941276"/>
            <a:chExt cx="1142888" cy="193503"/>
          </a:xfrm>
        </p:grpSpPr>
        <p:sp>
          <p:nvSpPr>
            <p:cNvPr id="46" name="מלבן 45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solidFill>
              <a:srgbClr val="76786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47" name="משולש ישר-זווית 46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solidFill>
              <a:srgbClr val="76786B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48" name="צורה חופשית 47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rgbClr val="76786B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6718019" y="985983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b="1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Quarter 2</a:t>
            </a:r>
            <a:endParaRPr lang="he-IL" sz="2400" b="1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50" name="מחבר חץ ישר 49"/>
          <p:cNvCxnSpPr/>
          <p:nvPr/>
        </p:nvCxnSpPr>
        <p:spPr>
          <a:xfrm flipH="1">
            <a:off x="4577456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מחבר חץ ישר 50"/>
          <p:cNvCxnSpPr/>
          <p:nvPr/>
        </p:nvCxnSpPr>
        <p:spPr>
          <a:xfrm flipH="1">
            <a:off x="9154914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מחבר חץ ישר 51"/>
          <p:cNvCxnSpPr/>
          <p:nvPr/>
        </p:nvCxnSpPr>
        <p:spPr>
          <a:xfrm flipH="1">
            <a:off x="2288728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מחבר חץ ישר 52"/>
          <p:cNvCxnSpPr/>
          <p:nvPr/>
        </p:nvCxnSpPr>
        <p:spPr>
          <a:xfrm flipH="1">
            <a:off x="0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מחבר חץ ישר 59"/>
          <p:cNvCxnSpPr/>
          <p:nvPr/>
        </p:nvCxnSpPr>
        <p:spPr>
          <a:xfrm>
            <a:off x="5795260" y="1832669"/>
            <a:ext cx="3325387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קבוצה 63"/>
          <p:cNvGrpSpPr>
            <a:grpSpLocks noChangeAspect="1"/>
          </p:cNvGrpSpPr>
          <p:nvPr/>
        </p:nvGrpSpPr>
        <p:grpSpPr>
          <a:xfrm>
            <a:off x="8195662" y="1871544"/>
            <a:ext cx="756000" cy="756000"/>
            <a:chOff x="5023768" y="4034800"/>
            <a:chExt cx="2143125" cy="2143125"/>
          </a:xfrm>
        </p:grpSpPr>
        <p:pic>
          <p:nvPicPr>
            <p:cNvPr id="65" name="Picture 4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6" name="מלבן 65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67" name="TextBox 66"/>
          <p:cNvSpPr txBox="1"/>
          <p:nvPr/>
        </p:nvSpPr>
        <p:spPr>
          <a:xfrm>
            <a:off x="7808206" y="2052322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76786B"/>
                  </a:solidFill>
                </a:ln>
                <a:solidFill>
                  <a:srgbClr val="76786B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</a:t>
            </a:r>
            <a:endParaRPr lang="he-IL" sz="3600">
              <a:ln w="28575">
                <a:solidFill>
                  <a:srgbClr val="76786B"/>
                </a:solidFill>
              </a:ln>
              <a:solidFill>
                <a:srgbClr val="76786B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812360" y="2599855"/>
            <a:ext cx="1368152" cy="32508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11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ays of activity</a:t>
            </a:r>
          </a:p>
        </p:txBody>
      </p:sp>
      <p:cxnSp>
        <p:nvCxnSpPr>
          <p:cNvPr id="69" name="מחבר ישר 68"/>
          <p:cNvCxnSpPr/>
          <p:nvPr/>
        </p:nvCxnSpPr>
        <p:spPr>
          <a:xfrm flipH="1">
            <a:off x="7986787" y="1870486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מחבר חץ ישר 70"/>
          <p:cNvCxnSpPr/>
          <p:nvPr/>
        </p:nvCxnSpPr>
        <p:spPr>
          <a:xfrm>
            <a:off x="6062914" y="2996952"/>
            <a:ext cx="312174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קבוצה 3"/>
          <p:cNvGrpSpPr>
            <a:grpSpLocks noChangeAspect="1"/>
          </p:cNvGrpSpPr>
          <p:nvPr/>
        </p:nvGrpSpPr>
        <p:grpSpPr>
          <a:xfrm>
            <a:off x="6979517" y="1881658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73" name="מלבן 72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74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83" name="תרשים זרימה: השהיה 82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84" name="מלבן 83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75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81" name="תרשים זרימה: השהיה 80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82" name="מלבן 81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76" name="משולש ישר-זווית 75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7" name="משולש ישר-זווית 76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8" name="משולש ישר-זווית 77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79" name="משולש ישר-זווית 78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80" name="משולש שווה שוקיים 79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87" name="אליפסה 86"/>
          <p:cNvSpPr>
            <a:spLocks noChangeAspect="1"/>
          </p:cNvSpPr>
          <p:nvPr/>
        </p:nvSpPr>
        <p:spPr>
          <a:xfrm>
            <a:off x="7282710" y="3752930"/>
            <a:ext cx="898050" cy="899148"/>
          </a:xfrm>
          <a:prstGeom prst="ellipse">
            <a:avLst/>
          </a:prstGeom>
          <a:solidFill>
            <a:srgbClr val="7678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982140" y="3959185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41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876256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lnSpc>
                <a:spcPct val="150000"/>
              </a:lnSpc>
              <a:defRPr/>
            </a:pPr>
            <a:r>
              <a:rPr lang="en-US" sz="24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-</a:t>
            </a:r>
            <a:endParaRPr lang="he-IL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1" name="קבוצה 10"/>
          <p:cNvGrpSpPr/>
          <p:nvPr/>
        </p:nvGrpSpPr>
        <p:grpSpPr>
          <a:xfrm flipH="1">
            <a:off x="7482116" y="5516175"/>
            <a:ext cx="1050324" cy="1296144"/>
            <a:chOff x="10761041" y="2809140"/>
            <a:chExt cx="3736975" cy="2436812"/>
          </a:xfrm>
        </p:grpSpPr>
        <p:sp>
          <p:nvSpPr>
            <p:cNvPr id="93" name="פחית 92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4" name="פחית 93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5" name="פחית 94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6" name="פחית 95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7" name="פחית 96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8" name="פחית 97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99" name="פחית 98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0" name="פחית 99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1" name="פחית 100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02" name="פחית 101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05" name="TextBox 104"/>
          <p:cNvSpPr txBox="1"/>
          <p:nvPr/>
        </p:nvSpPr>
        <p:spPr>
          <a:xfrm>
            <a:off x="6804248" y="5013176"/>
            <a:ext cx="1584176" cy="10618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lnSpc>
                <a:spcPct val="150000"/>
              </a:lnSpc>
              <a:defRPr/>
            </a:pPr>
            <a:r>
              <a:rPr lang="he-IL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₪ </a:t>
            </a:r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Millions</a:t>
            </a:r>
            <a:endParaRPr lang="he-IL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lnSpc>
                <a:spcPct val="150000"/>
              </a:lnSpc>
              <a:defRPr/>
            </a:pPr>
            <a:endParaRPr lang="en-US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88" name="קבוצה 11"/>
          <p:cNvGrpSpPr>
            <a:grpSpLocks noChangeAspect="1"/>
          </p:cNvGrpSpPr>
          <p:nvPr/>
        </p:nvGrpSpPr>
        <p:grpSpPr>
          <a:xfrm flipH="1">
            <a:off x="4732686" y="958038"/>
            <a:ext cx="1964107" cy="622298"/>
            <a:chOff x="4141949" y="941276"/>
            <a:chExt cx="1142888" cy="193503"/>
          </a:xfrm>
        </p:grpSpPr>
        <p:sp>
          <p:nvSpPr>
            <p:cNvPr id="91" name="מלבן 90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solidFill>
              <a:srgbClr val="F7BF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06" name="משולש ישר-זווית 105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solidFill>
              <a:srgbClr val="F7BF3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07" name="צורה חופשית 106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solidFill>
              <a:srgbClr val="F7BF34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08" name="TextBox 107"/>
          <p:cNvSpPr txBox="1"/>
          <p:nvPr/>
        </p:nvSpPr>
        <p:spPr>
          <a:xfrm>
            <a:off x="4427984" y="986512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b="1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Quarter 3</a:t>
            </a:r>
            <a:endParaRPr lang="he-IL" sz="2400" b="1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09" name="קבוצה 108"/>
          <p:cNvGrpSpPr>
            <a:grpSpLocks noChangeAspect="1"/>
          </p:cNvGrpSpPr>
          <p:nvPr/>
        </p:nvGrpSpPr>
        <p:grpSpPr>
          <a:xfrm>
            <a:off x="5891050" y="1889226"/>
            <a:ext cx="756000" cy="756000"/>
            <a:chOff x="5023768" y="4034800"/>
            <a:chExt cx="2143125" cy="2143125"/>
          </a:xfrm>
        </p:grpSpPr>
        <p:pic>
          <p:nvPicPr>
            <p:cNvPr id="110" name="Picture 4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11" name="מלבן 110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12" name="TextBox 111"/>
          <p:cNvSpPr txBox="1"/>
          <p:nvPr/>
        </p:nvSpPr>
        <p:spPr>
          <a:xfrm>
            <a:off x="5503594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F7BF34"/>
                  </a:solidFill>
                </a:ln>
                <a:solidFill>
                  <a:srgbClr val="F7BF34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</a:t>
            </a:r>
            <a:endParaRPr lang="he-IL" sz="3600">
              <a:ln w="28575">
                <a:solidFill>
                  <a:srgbClr val="F7BF34"/>
                </a:solidFill>
              </a:ln>
              <a:solidFill>
                <a:srgbClr val="F7BF34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cxnSp>
        <p:nvCxnSpPr>
          <p:cNvPr id="114" name="מחבר ישר 113"/>
          <p:cNvCxnSpPr/>
          <p:nvPr/>
        </p:nvCxnSpPr>
        <p:spPr>
          <a:xfrm flipH="1">
            <a:off x="5721820" y="1871015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קבוצה 3"/>
          <p:cNvGrpSpPr>
            <a:grpSpLocks noChangeAspect="1"/>
          </p:cNvGrpSpPr>
          <p:nvPr/>
        </p:nvGrpSpPr>
        <p:grpSpPr>
          <a:xfrm>
            <a:off x="4718672" y="1881658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16" name="מלבן 115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117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126" name="תרשים זרימה: השהיה 125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מלבן 126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18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124" name="תרשים זרימה: השהיה 123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25" name="מלבן 124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19" name="משולש ישר-זווית 118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0" name="משולש ישר-זווית 119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1" name="משולש ישר-זווית 120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2" name="משולש ישר-זווית 121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23" name="משולש שווה שוקיים 122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29" name="אליפסה 128"/>
          <p:cNvSpPr>
            <a:spLocks noChangeAspect="1"/>
          </p:cNvSpPr>
          <p:nvPr/>
        </p:nvSpPr>
        <p:spPr>
          <a:xfrm>
            <a:off x="4978454" y="3753459"/>
            <a:ext cx="898050" cy="899148"/>
          </a:xfrm>
          <a:prstGeom prst="ellipse">
            <a:avLst/>
          </a:prstGeom>
          <a:solidFill>
            <a:srgbClr val="F7BF3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ln>
                <a:solidFill>
                  <a:srgbClr val="F7BF34"/>
                </a:solidFill>
              </a:ln>
              <a:solidFill>
                <a:srgbClr val="F7BF34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4677884" y="3959714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 dirty="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8</a:t>
            </a:r>
            <a:endParaRPr lang="he-IL" sz="3200" dirty="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132" name="קבוצה 131"/>
          <p:cNvGrpSpPr/>
          <p:nvPr/>
        </p:nvGrpSpPr>
        <p:grpSpPr>
          <a:xfrm flipH="1">
            <a:off x="5249868" y="5516704"/>
            <a:ext cx="1050324" cy="1296144"/>
            <a:chOff x="10761041" y="2809140"/>
            <a:chExt cx="3736975" cy="2436812"/>
          </a:xfrm>
        </p:grpSpPr>
        <p:sp>
          <p:nvSpPr>
            <p:cNvPr id="133" name="פחית 132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4" name="פחית 133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5" name="פחית 134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6" name="פחית 135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7" name="פחית 136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8" name="פחית 137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39" name="פחית 138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0" name="פחית 139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1" name="פחית 140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42" name="פחית 141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145" name="TextBox 144"/>
          <p:cNvSpPr txBox="1"/>
          <p:nvPr/>
        </p:nvSpPr>
        <p:spPr>
          <a:xfrm>
            <a:off x="4572000" y="5013176"/>
            <a:ext cx="1426805" cy="47320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Millions</a:t>
            </a:r>
            <a:r>
              <a:rPr lang="en-US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₪ </a:t>
            </a:r>
          </a:p>
        </p:txBody>
      </p:sp>
      <p:grpSp>
        <p:nvGrpSpPr>
          <p:cNvPr id="146" name="קבוצה 11"/>
          <p:cNvGrpSpPr>
            <a:grpSpLocks noChangeAspect="1"/>
          </p:cNvGrpSpPr>
          <p:nvPr/>
        </p:nvGrpSpPr>
        <p:grpSpPr>
          <a:xfrm flipH="1">
            <a:off x="2463875" y="958567"/>
            <a:ext cx="1964109" cy="622298"/>
            <a:chOff x="4141949" y="941276"/>
            <a:chExt cx="1142888" cy="193503"/>
          </a:xfrm>
          <a:solidFill>
            <a:srgbClr val="49A244"/>
          </a:solidFill>
        </p:grpSpPr>
        <p:sp>
          <p:nvSpPr>
            <p:cNvPr id="147" name="מלבן 146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48" name="משולש ישר-זווית 147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49" name="צורה חופשית 148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50" name="TextBox 149"/>
          <p:cNvSpPr txBox="1"/>
          <p:nvPr/>
        </p:nvSpPr>
        <p:spPr>
          <a:xfrm>
            <a:off x="2180556" y="987041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b="1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Quarter 4</a:t>
            </a:r>
            <a:endParaRPr lang="he-IL" sz="2400" b="1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51" name="קבוצה 150"/>
          <p:cNvGrpSpPr>
            <a:grpSpLocks noChangeAspect="1"/>
          </p:cNvGrpSpPr>
          <p:nvPr/>
        </p:nvGrpSpPr>
        <p:grpSpPr>
          <a:xfrm>
            <a:off x="3640029" y="1889226"/>
            <a:ext cx="756000" cy="756000"/>
            <a:chOff x="5023768" y="4034800"/>
            <a:chExt cx="2143125" cy="2143125"/>
          </a:xfrm>
        </p:grpSpPr>
        <p:pic>
          <p:nvPicPr>
            <p:cNvPr id="152" name="Picture 4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53" name="מלבן 152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54" name="TextBox 153"/>
          <p:cNvSpPr txBox="1"/>
          <p:nvPr/>
        </p:nvSpPr>
        <p:spPr>
          <a:xfrm>
            <a:off x="3252573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49A244"/>
                  </a:solidFill>
                </a:ln>
                <a:solidFill>
                  <a:srgbClr val="49A244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</a:t>
            </a:r>
            <a:endParaRPr lang="he-IL" sz="3600">
              <a:ln w="28575">
                <a:solidFill>
                  <a:srgbClr val="49A244"/>
                </a:solidFill>
              </a:ln>
              <a:solidFill>
                <a:srgbClr val="49A244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cxnSp>
        <p:nvCxnSpPr>
          <p:cNvPr id="156" name="מחבר ישר 155"/>
          <p:cNvCxnSpPr/>
          <p:nvPr/>
        </p:nvCxnSpPr>
        <p:spPr>
          <a:xfrm flipH="1">
            <a:off x="1144364" y="1871544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7" name="קבוצה 3"/>
          <p:cNvGrpSpPr>
            <a:grpSpLocks noChangeAspect="1"/>
          </p:cNvGrpSpPr>
          <p:nvPr/>
        </p:nvGrpSpPr>
        <p:grpSpPr>
          <a:xfrm>
            <a:off x="2428361" y="1889784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58" name="מלבן 157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159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168" name="תרשים זרימה: השהיה 167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69" name="מלבן 168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60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166" name="תרשים זרימה: השהיה 165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167" name="מלבן 166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161" name="משולש ישר-זווית 160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2" name="משולש ישר-זווית 161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3" name="משולש ישר-זווית 162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4" name="משולש ישר-זווית 163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165" name="משולש שווה שוקיים 164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71" name="אליפסה 170"/>
          <p:cNvSpPr>
            <a:spLocks noChangeAspect="1"/>
          </p:cNvSpPr>
          <p:nvPr/>
        </p:nvSpPr>
        <p:spPr>
          <a:xfrm>
            <a:off x="2674198" y="3753988"/>
            <a:ext cx="898050" cy="899148"/>
          </a:xfrm>
          <a:prstGeom prst="ellipse">
            <a:avLst/>
          </a:prstGeom>
          <a:solidFill>
            <a:srgbClr val="49A24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72" name="TextBox 171"/>
          <p:cNvSpPr txBox="1"/>
          <p:nvPr/>
        </p:nvSpPr>
        <p:spPr>
          <a:xfrm>
            <a:off x="2373628" y="3960243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113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174" name="קבוצה 173"/>
          <p:cNvGrpSpPr/>
          <p:nvPr/>
        </p:nvGrpSpPr>
        <p:grpSpPr>
          <a:xfrm flipH="1">
            <a:off x="2987824" y="5517233"/>
            <a:ext cx="1050324" cy="1296144"/>
            <a:chOff x="10761041" y="2809140"/>
            <a:chExt cx="3736975" cy="2436812"/>
          </a:xfrm>
        </p:grpSpPr>
        <p:sp>
          <p:nvSpPr>
            <p:cNvPr id="175" name="פחית 174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6" name="פחית 175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7" name="פחית 176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8" name="פחית 177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79" name="פחית 178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0" name="פחית 179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1" name="פחית 180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2" name="פחית 181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3" name="פחית 182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184" name="פחית 183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cxnSp>
        <p:nvCxnSpPr>
          <p:cNvPr id="2" name="מחבר חץ ישר 190"/>
          <p:cNvCxnSpPr/>
          <p:nvPr/>
        </p:nvCxnSpPr>
        <p:spPr>
          <a:xfrm>
            <a:off x="2879013" y="1832669"/>
            <a:ext cx="318681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מחבר חץ ישר 191"/>
          <p:cNvCxnSpPr/>
          <p:nvPr/>
        </p:nvCxnSpPr>
        <p:spPr>
          <a:xfrm>
            <a:off x="2879013" y="2996952"/>
            <a:ext cx="3186819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מחבר חץ ישר 192"/>
          <p:cNvCxnSpPr/>
          <p:nvPr/>
        </p:nvCxnSpPr>
        <p:spPr>
          <a:xfrm>
            <a:off x="-18176" y="1832669"/>
            <a:ext cx="300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מחבר חץ ישר 193"/>
          <p:cNvCxnSpPr/>
          <p:nvPr/>
        </p:nvCxnSpPr>
        <p:spPr>
          <a:xfrm>
            <a:off x="-18176" y="2996952"/>
            <a:ext cx="3006000" cy="0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מחבר חץ ישר 187"/>
          <p:cNvCxnSpPr/>
          <p:nvPr/>
        </p:nvCxnSpPr>
        <p:spPr>
          <a:xfrm flipH="1">
            <a:off x="6866184" y="932489"/>
            <a:ext cx="0" cy="5520583"/>
          </a:xfrm>
          <a:prstGeom prst="straightConnector1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מחבר ישר 188"/>
          <p:cNvCxnSpPr/>
          <p:nvPr/>
        </p:nvCxnSpPr>
        <p:spPr>
          <a:xfrm flipH="1">
            <a:off x="3433092" y="1871544"/>
            <a:ext cx="0" cy="93662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0" name="TextBox 189"/>
          <p:cNvSpPr txBox="1"/>
          <p:nvPr/>
        </p:nvSpPr>
        <p:spPr>
          <a:xfrm>
            <a:off x="5580112" y="2636912"/>
            <a:ext cx="1368152" cy="32508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11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ays of </a:t>
            </a:r>
            <a:r>
              <a:rPr lang="en-US" sz="11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ctivity</a:t>
            </a:r>
            <a:endParaRPr lang="en-US" sz="11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3347039" y="2636912"/>
            <a:ext cx="1296969" cy="32508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11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ays of </a:t>
            </a:r>
            <a:r>
              <a:rPr lang="en-US" sz="11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ctivity</a:t>
            </a:r>
            <a:endParaRPr lang="en-US" sz="11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93" name="קבוצה 192"/>
          <p:cNvGrpSpPr>
            <a:grpSpLocks noChangeAspect="1"/>
          </p:cNvGrpSpPr>
          <p:nvPr/>
        </p:nvGrpSpPr>
        <p:grpSpPr>
          <a:xfrm>
            <a:off x="1338367" y="1889226"/>
            <a:ext cx="756000" cy="756000"/>
            <a:chOff x="5023768" y="4034800"/>
            <a:chExt cx="2143125" cy="2143125"/>
          </a:xfrm>
        </p:grpSpPr>
        <p:pic>
          <p:nvPicPr>
            <p:cNvPr id="194" name="Picture 4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195" name="מלבן 194"/>
            <p:cNvSpPr/>
            <p:nvPr/>
          </p:nvSpPr>
          <p:spPr>
            <a:xfrm>
              <a:off x="5650946" y="4882594"/>
              <a:ext cx="832037" cy="10652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196" name="TextBox 195"/>
          <p:cNvSpPr txBox="1"/>
          <p:nvPr/>
        </p:nvSpPr>
        <p:spPr>
          <a:xfrm>
            <a:off x="950911" y="2070004"/>
            <a:ext cx="1531135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3600">
                <a:ln w="28575">
                  <a:solidFill>
                    <a:srgbClr val="2E2E2E"/>
                  </a:solidFill>
                </a:ln>
                <a:solidFill>
                  <a:srgbClr val="2E2E2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29</a:t>
            </a:r>
            <a:endParaRPr lang="he-IL" sz="3600">
              <a:ln w="28575">
                <a:solidFill>
                  <a:srgbClr val="2E2E2E"/>
                </a:solidFill>
              </a:ln>
              <a:solidFill>
                <a:srgbClr val="2E2E2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1115616" y="2636912"/>
            <a:ext cx="1356525" cy="32508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lnSpc>
                <a:spcPct val="150000"/>
              </a:lnSpc>
              <a:defRPr/>
            </a:pPr>
            <a:r>
              <a:rPr lang="en-US" sz="11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ays of </a:t>
            </a:r>
            <a:r>
              <a:rPr lang="en-US" sz="11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ctivity</a:t>
            </a:r>
            <a:endParaRPr lang="en-US" sz="11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pSp>
        <p:nvGrpSpPr>
          <p:cNvPr id="198" name="קבוצה 3"/>
          <p:cNvGrpSpPr>
            <a:grpSpLocks noChangeAspect="1"/>
          </p:cNvGrpSpPr>
          <p:nvPr/>
        </p:nvGrpSpPr>
        <p:grpSpPr>
          <a:xfrm>
            <a:off x="143658" y="1878409"/>
            <a:ext cx="901304" cy="917327"/>
            <a:chOff x="5800931" y="2492896"/>
            <a:chExt cx="1071019" cy="108954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199" name="מלבן 198"/>
            <p:cNvSpPr/>
            <p:nvPr/>
          </p:nvSpPr>
          <p:spPr>
            <a:xfrm>
              <a:off x="6281700" y="2708584"/>
              <a:ext cx="107895" cy="87385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grpSp>
          <p:nvGrpSpPr>
            <p:cNvPr id="200" name="קבוצה 5"/>
            <p:cNvGrpSpPr>
              <a:grpSpLocks noChangeAspect="1"/>
            </p:cNvGrpSpPr>
            <p:nvPr/>
          </p:nvGrpSpPr>
          <p:grpSpPr>
            <a:xfrm>
              <a:off x="6591132" y="2924273"/>
              <a:ext cx="65056" cy="342563"/>
              <a:chOff x="6444253" y="2638933"/>
              <a:chExt cx="90355" cy="827431"/>
            </a:xfrm>
            <a:grpFill/>
          </p:grpSpPr>
          <p:sp>
            <p:nvSpPr>
              <p:cNvPr id="209" name="תרשים זרימה: השהיה 208"/>
              <p:cNvSpPr/>
              <p:nvPr/>
            </p:nvSpPr>
            <p:spPr>
              <a:xfrm rot="16200000">
                <a:off x="6380255" y="2702932"/>
                <a:ext cx="218351" cy="90354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210" name="מלבן 209"/>
              <p:cNvSpPr/>
              <p:nvPr/>
            </p:nvSpPr>
            <p:spPr>
              <a:xfrm>
                <a:off x="6444253" y="2857284"/>
                <a:ext cx="90354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01" name="קבוצה 8"/>
            <p:cNvGrpSpPr>
              <a:grpSpLocks noChangeAspect="1"/>
            </p:cNvGrpSpPr>
            <p:nvPr/>
          </p:nvGrpSpPr>
          <p:grpSpPr>
            <a:xfrm>
              <a:off x="6015124" y="2924270"/>
              <a:ext cx="65054" cy="342563"/>
              <a:chOff x="6444831" y="2638932"/>
              <a:chExt cx="90353" cy="827432"/>
            </a:xfrm>
            <a:grpFill/>
          </p:grpSpPr>
          <p:sp>
            <p:nvSpPr>
              <p:cNvPr id="207" name="תרשים זרימה: השהיה 206"/>
              <p:cNvSpPr/>
              <p:nvPr/>
            </p:nvSpPr>
            <p:spPr>
              <a:xfrm rot="16200000">
                <a:off x="6380832" y="2702931"/>
                <a:ext cx="218351" cy="90353"/>
              </a:xfrm>
              <a:prstGeom prst="flowChartDelay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  <p:sp>
            <p:nvSpPr>
              <p:cNvPr id="208" name="מלבן 207"/>
              <p:cNvSpPr/>
              <p:nvPr/>
            </p:nvSpPr>
            <p:spPr>
              <a:xfrm>
                <a:off x="6444831" y="2857284"/>
                <a:ext cx="90353" cy="60908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1" anchor="ctr"/>
              <a:lstStyle/>
              <a:p>
                <a:pPr algn="ctr">
                  <a:defRPr/>
                </a:pPr>
                <a:endParaRPr lang="he-IL">
                  <a:solidFill>
                    <a:prstClr val="white"/>
                  </a:solidFill>
                </a:endParaRPr>
              </a:p>
            </p:txBody>
          </p:sp>
        </p:grpSp>
        <p:sp>
          <p:nvSpPr>
            <p:cNvPr id="202" name="משולש ישר-זווית 201"/>
            <p:cNvSpPr/>
            <p:nvPr/>
          </p:nvSpPr>
          <p:spPr>
            <a:xfrm>
              <a:off x="6403875" y="2868764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3" name="משולש ישר-זווית 202"/>
            <p:cNvSpPr/>
            <p:nvPr/>
          </p:nvSpPr>
          <p:spPr>
            <a:xfrm flipH="1">
              <a:off x="5800931" y="2871936"/>
              <a:ext cx="468075" cy="46785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4" name="משולש ישר-זווית 203"/>
            <p:cNvSpPr>
              <a:spLocks noChangeAspect="1"/>
            </p:cNvSpPr>
            <p:nvPr/>
          </p:nvSpPr>
          <p:spPr>
            <a:xfrm>
              <a:off x="6403875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5" name="משולש ישר-זווית 204"/>
            <p:cNvSpPr>
              <a:spLocks noChangeAspect="1"/>
            </p:cNvSpPr>
            <p:nvPr/>
          </p:nvSpPr>
          <p:spPr>
            <a:xfrm flipH="1">
              <a:off x="6089709" y="3403225"/>
              <a:ext cx="179297" cy="179212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0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06" name="משולש שווה שוקיים 205"/>
            <p:cNvSpPr/>
            <p:nvPr/>
          </p:nvSpPr>
          <p:spPr>
            <a:xfrm>
              <a:off x="6281700" y="2492896"/>
              <a:ext cx="107895" cy="215688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grpSp>
        <p:nvGrpSpPr>
          <p:cNvPr id="211" name="קבוצה 210"/>
          <p:cNvGrpSpPr/>
          <p:nvPr/>
        </p:nvGrpSpPr>
        <p:grpSpPr>
          <a:xfrm flipH="1">
            <a:off x="569348" y="5517233"/>
            <a:ext cx="1050324" cy="1296144"/>
            <a:chOff x="10761041" y="2809140"/>
            <a:chExt cx="3736975" cy="2436812"/>
          </a:xfrm>
        </p:grpSpPr>
        <p:sp>
          <p:nvSpPr>
            <p:cNvPr id="212" name="פחית 211"/>
            <p:cNvSpPr/>
            <p:nvPr/>
          </p:nvSpPr>
          <p:spPr>
            <a:xfrm>
              <a:off x="12637466" y="4885590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3" name="פחית 212"/>
            <p:cNvSpPr/>
            <p:nvPr/>
          </p:nvSpPr>
          <p:spPr>
            <a:xfrm>
              <a:off x="12637466" y="45696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4" name="פחית 213"/>
            <p:cNvSpPr/>
            <p:nvPr/>
          </p:nvSpPr>
          <p:spPr>
            <a:xfrm>
              <a:off x="12708904" y="4266465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5" name="פחית 214"/>
            <p:cNvSpPr/>
            <p:nvPr/>
          </p:nvSpPr>
          <p:spPr>
            <a:xfrm>
              <a:off x="10761041" y="484590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6" name="פחית 215"/>
            <p:cNvSpPr/>
            <p:nvPr/>
          </p:nvSpPr>
          <p:spPr>
            <a:xfrm>
              <a:off x="10761041" y="4496652"/>
              <a:ext cx="1757363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7" name="פחית 216"/>
            <p:cNvSpPr/>
            <p:nvPr/>
          </p:nvSpPr>
          <p:spPr>
            <a:xfrm>
              <a:off x="12637466" y="3985477"/>
              <a:ext cx="1755775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8" name="פחית 217"/>
            <p:cNvSpPr/>
            <p:nvPr/>
          </p:nvSpPr>
          <p:spPr>
            <a:xfrm>
              <a:off x="12742241" y="3733065"/>
              <a:ext cx="1755775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19" name="פחית 218"/>
            <p:cNvSpPr/>
            <p:nvPr/>
          </p:nvSpPr>
          <p:spPr>
            <a:xfrm>
              <a:off x="12527929" y="3445727"/>
              <a:ext cx="1757362" cy="358775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20" name="פחית 219"/>
            <p:cNvSpPr/>
            <p:nvPr/>
          </p:nvSpPr>
          <p:spPr>
            <a:xfrm>
              <a:off x="12558091" y="3156802"/>
              <a:ext cx="1757363" cy="360363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  <p:sp>
          <p:nvSpPr>
            <p:cNvPr id="221" name="פחית 220"/>
            <p:cNvSpPr/>
            <p:nvPr/>
          </p:nvSpPr>
          <p:spPr>
            <a:xfrm>
              <a:off x="12558091" y="2809140"/>
              <a:ext cx="1757363" cy="360362"/>
            </a:xfrm>
            <a:prstGeom prst="can">
              <a:avLst/>
            </a:prstGeom>
            <a:solidFill>
              <a:schemeClr val="tx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 b="1">
                <a:solidFill>
                  <a:prstClr val="white"/>
                </a:solidFill>
              </a:endParaRPr>
            </a:p>
          </p:txBody>
        </p:sp>
      </p:grpSp>
      <p:sp>
        <p:nvSpPr>
          <p:cNvPr id="223" name="אליפסה 222"/>
          <p:cNvSpPr>
            <a:spLocks noChangeAspect="1"/>
          </p:cNvSpPr>
          <p:nvPr/>
        </p:nvSpPr>
        <p:spPr>
          <a:xfrm>
            <a:off x="569348" y="3753988"/>
            <a:ext cx="898050" cy="899148"/>
          </a:xfrm>
          <a:prstGeom prst="ellipse">
            <a:avLst/>
          </a:prstGeom>
          <a:solidFill>
            <a:srgbClr val="2E2E2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291130" y="3936461"/>
            <a:ext cx="14146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64</a:t>
            </a:r>
            <a:endParaRPr lang="he-IL" sz="320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pSp>
        <p:nvGrpSpPr>
          <p:cNvPr id="226" name="קבוצה 11"/>
          <p:cNvGrpSpPr>
            <a:grpSpLocks noChangeAspect="1"/>
          </p:cNvGrpSpPr>
          <p:nvPr/>
        </p:nvGrpSpPr>
        <p:grpSpPr>
          <a:xfrm flipH="1">
            <a:off x="174799" y="980728"/>
            <a:ext cx="1964109" cy="622298"/>
            <a:chOff x="4141949" y="941276"/>
            <a:chExt cx="1142888" cy="193503"/>
          </a:xfrm>
          <a:solidFill>
            <a:srgbClr val="2E2E2E"/>
          </a:solidFill>
        </p:grpSpPr>
        <p:sp>
          <p:nvSpPr>
            <p:cNvPr id="227" name="מלבן 226"/>
            <p:cNvSpPr/>
            <p:nvPr/>
          </p:nvSpPr>
          <p:spPr>
            <a:xfrm>
              <a:off x="4252232" y="945164"/>
              <a:ext cx="1032605" cy="14414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28" name="משולש ישר-זווית 227"/>
            <p:cNvSpPr/>
            <p:nvPr/>
          </p:nvSpPr>
          <p:spPr>
            <a:xfrm rot="10800000" flipH="1" flipV="1">
              <a:off x="4241847" y="941276"/>
              <a:ext cx="150341" cy="45908"/>
            </a:xfrm>
            <a:prstGeom prst="rtTriangle">
              <a:avLst/>
            </a:pr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  <p:sp>
          <p:nvSpPr>
            <p:cNvPr id="229" name="צורה חופשית 228"/>
            <p:cNvSpPr/>
            <p:nvPr/>
          </p:nvSpPr>
          <p:spPr>
            <a:xfrm>
              <a:off x="4141949" y="987183"/>
              <a:ext cx="250239" cy="147596"/>
            </a:xfrm>
            <a:custGeom>
              <a:avLst/>
              <a:gdLst>
                <a:gd name="connsiteX0" fmla="*/ 250031 w 250031"/>
                <a:gd name="connsiteY0" fmla="*/ 0 h 150019"/>
                <a:gd name="connsiteX1" fmla="*/ 0 w 250031"/>
                <a:gd name="connsiteY1" fmla="*/ 0 h 150019"/>
                <a:gd name="connsiteX2" fmla="*/ 0 w 250031"/>
                <a:gd name="connsiteY2" fmla="*/ 150019 h 150019"/>
                <a:gd name="connsiteX3" fmla="*/ 126206 w 250031"/>
                <a:gd name="connsiteY3" fmla="*/ 150019 h 150019"/>
                <a:gd name="connsiteX4" fmla="*/ 250031 w 250031"/>
                <a:gd name="connsiteY4" fmla="*/ 0 h 1500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0031" h="150019">
                  <a:moveTo>
                    <a:pt x="250031" y="0"/>
                  </a:moveTo>
                  <a:lnTo>
                    <a:pt x="0" y="0"/>
                  </a:lnTo>
                  <a:lnTo>
                    <a:pt x="0" y="150019"/>
                  </a:lnTo>
                  <a:lnTo>
                    <a:pt x="126206" y="150019"/>
                  </a:lnTo>
                  <a:lnTo>
                    <a:pt x="250031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>
                <a:defRPr/>
              </a:pPr>
              <a:endParaRPr lang="he-IL">
                <a:solidFill>
                  <a:prstClr val="white"/>
                </a:solidFill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-108520" y="1009202"/>
            <a:ext cx="217446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b="1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Quarter 4</a:t>
            </a:r>
            <a:endParaRPr lang="he-IL" sz="2400" b="1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3" name="TextBox 232"/>
          <p:cNvSpPr txBox="1"/>
          <p:nvPr/>
        </p:nvSpPr>
        <p:spPr>
          <a:xfrm>
            <a:off x="-487298" y="4972127"/>
            <a:ext cx="1940042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Millions₪ </a:t>
            </a:r>
          </a:p>
          <a:p>
            <a:pPr>
              <a:lnSpc>
                <a:spcPct val="150000"/>
              </a:lnSpc>
              <a:defRPr/>
            </a:pPr>
            <a:endParaRPr lang="en-US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1" name="TextBox 190"/>
          <p:cNvSpPr txBox="1"/>
          <p:nvPr/>
        </p:nvSpPr>
        <p:spPr>
          <a:xfrm>
            <a:off x="4572000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lnSpc>
                <a:spcPct val="150000"/>
              </a:lnSpc>
              <a:defRPr/>
            </a:pPr>
            <a:r>
              <a:rPr lang="en-US" sz="24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-</a:t>
            </a:r>
            <a:endParaRPr lang="he-IL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22" name="TextBox 221"/>
          <p:cNvSpPr txBox="1"/>
          <p:nvPr/>
        </p:nvSpPr>
        <p:spPr>
          <a:xfrm>
            <a:off x="2267744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lnSpc>
                <a:spcPct val="150000"/>
              </a:lnSpc>
              <a:defRPr/>
            </a:pPr>
            <a:r>
              <a:rPr lang="en-US" sz="24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-</a:t>
            </a:r>
            <a:endParaRPr lang="he-IL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25" name="TextBox 224"/>
          <p:cNvSpPr txBox="1"/>
          <p:nvPr/>
        </p:nvSpPr>
        <p:spPr>
          <a:xfrm>
            <a:off x="0" y="3212976"/>
            <a:ext cx="1426805" cy="600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lnSpc>
                <a:spcPct val="150000"/>
              </a:lnSpc>
              <a:defRPr/>
            </a:pPr>
            <a:r>
              <a:rPr lang="en-US" sz="24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-</a:t>
            </a:r>
            <a:endParaRPr lang="he-IL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86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1" name="TextBox 230"/>
          <p:cNvSpPr txBox="1"/>
          <p:nvPr/>
        </p:nvSpPr>
        <p:spPr>
          <a:xfrm>
            <a:off x="2267744" y="5013176"/>
            <a:ext cx="1584176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lnSpc>
                <a:spcPct val="150000"/>
              </a:lnSpc>
              <a:defRPr/>
            </a:pPr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₪  Millions</a:t>
            </a:r>
            <a:endParaRPr lang="en-US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lnSpc>
                <a:spcPct val="150000"/>
              </a:lnSpc>
              <a:defRPr/>
            </a:pPr>
            <a:endParaRPr lang="en-US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34945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4251541" y="2996952"/>
            <a:ext cx="2912747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96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cs typeface="Lucida Sans Unicode" panose="020B0602030504020204" pitchFamily="34" charset="0"/>
              </a:rPr>
              <a:t>3</a:t>
            </a:r>
            <a:endParaRPr lang="he-IL" sz="9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8" name="תרשים 1"/>
          <p:cNvGraphicFramePr/>
          <p:nvPr>
            <p:extLst>
              <p:ext uri="{D42A27DB-BD31-4B8C-83A1-F6EECF244321}">
                <p14:modId xmlns="" xmlns:p14="http://schemas.microsoft.com/office/powerpoint/2010/main" val="1496909123"/>
              </p:ext>
            </p:extLst>
          </p:nvPr>
        </p:nvGraphicFramePr>
        <p:xfrm>
          <a:off x="-468560" y="701407"/>
          <a:ext cx="5292079" cy="5256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תרשים 8"/>
          <p:cNvGraphicFramePr/>
          <p:nvPr>
            <p:extLst>
              <p:ext uri="{D42A27DB-BD31-4B8C-83A1-F6EECF244321}">
                <p14:modId xmlns="" xmlns:p14="http://schemas.microsoft.com/office/powerpoint/2010/main" val="4141918823"/>
              </p:ext>
            </p:extLst>
          </p:nvPr>
        </p:nvGraphicFramePr>
        <p:xfrm>
          <a:off x="6119664" y="1812595"/>
          <a:ext cx="3024336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6372200" y="4397042"/>
            <a:ext cx="2664296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20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ir</a:t>
            </a:r>
            <a:endParaRPr lang="he-IL" sz="20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12" name="מחבר ישר 11"/>
          <p:cNvCxnSpPr/>
          <p:nvPr/>
        </p:nvCxnSpPr>
        <p:spPr>
          <a:xfrm flipH="1" flipV="1">
            <a:off x="2411760" y="1484784"/>
            <a:ext cx="5364597" cy="100811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מחבר ישר 12"/>
          <p:cNvCxnSpPr/>
          <p:nvPr/>
        </p:nvCxnSpPr>
        <p:spPr>
          <a:xfrm flipH="1">
            <a:off x="2771800" y="4869160"/>
            <a:ext cx="5004558" cy="811490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99992" y="3297758"/>
            <a:ext cx="774087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 sz="2800" b="0" i="0" u="none" strike="noStrike" kern="1200" baseline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defRPr>
            </a:pPr>
            <a:r>
              <a:rPr lang="en-US" sz="54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cs typeface="Lucida Sans Unicode" panose="020B0602030504020204" pitchFamily="34" charset="0"/>
              </a:rPr>
              <a:t>÷</a:t>
            </a:r>
            <a:endParaRPr lang="he-IL" sz="6600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83568" y="5715253"/>
            <a:ext cx="3190181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2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Operation Protective Edge</a:t>
            </a:r>
            <a:endParaRPr lang="he-IL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012160" y="5157192"/>
            <a:ext cx="3190181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2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ampaign between Wars Since Operation </a:t>
            </a:r>
            <a:r>
              <a:rPr lang="en-US" sz="24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Protective Edge</a:t>
            </a:r>
            <a:endParaRPr 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-18270" y="0"/>
            <a:ext cx="9162270" cy="135421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32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etween the </a:t>
            </a:r>
            <a:r>
              <a:rPr lang="en-US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ampaign between wars and “Operation </a:t>
            </a:r>
            <a:r>
              <a:rPr lang="en-US" sz="32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Protective </a:t>
            </a:r>
            <a:r>
              <a:rPr lang="en-US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dge”</a:t>
            </a:r>
            <a:endParaRPr lang="he-IL" sz="3200" dirty="0" smtClean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>
              <a:defRPr/>
            </a:pPr>
            <a:r>
              <a:rPr lang="en-US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(ammunition </a:t>
            </a:r>
            <a:r>
              <a:rPr lang="en-US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osts only, NIS </a:t>
            </a:r>
            <a:r>
              <a:rPr lang="en-US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llions)</a:t>
            </a:r>
            <a:endParaRPr lang="he-IL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25" name="Picture 21" descr="סמל חיל הים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10752" y="1995772"/>
            <a:ext cx="569119" cy="50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5" descr="af_1_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15816" y="4523244"/>
            <a:ext cx="507074" cy="5478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3" descr="tag_p_darom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34667" y1="48000" x2="34667" y2="48000"/>
                        <a14:foregroundMark x1="81333" y1="64000" x2="81333" y2="64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175604" y="3080803"/>
            <a:ext cx="623454" cy="623454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29" name="Picture 44" descr="tag_p_tsafon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="" xmlns:a14="http://schemas.microsoft.com/office/drawing/2010/main">
                  <a14:imgLayer r:embed="rId10">
                    <a14:imgEffect>
                      <a14:backgroundRemoval t="0" b="98667" l="0" r="100000">
                        <a14:foregroundMark x1="54667" y1="80000" x2="54667" y2="8000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667582" y="2814849"/>
            <a:ext cx="621937" cy="621937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30" name="Picture 5" descr="af_1_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72400" y="4042422"/>
            <a:ext cx="507074" cy="54781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814546487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1" y="393924"/>
            <a:ext cx="9143999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6600" dirty="0" smtClean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nd what do you </a:t>
            </a:r>
          </a:p>
          <a:p>
            <a:pPr algn="ctr">
              <a:defRPr/>
            </a:pPr>
            <a:r>
              <a:rPr lang="en-US" sz="6600" dirty="0" smtClean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hear </a:t>
            </a:r>
            <a:r>
              <a:rPr lang="en-US" sz="6600" dirty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in the </a:t>
            </a:r>
            <a:r>
              <a:rPr lang="en-US" sz="6600" dirty="0" smtClean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edia</a:t>
            </a:r>
            <a:r>
              <a:rPr lang="en-US" sz="6600" dirty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?</a:t>
            </a:r>
            <a:endParaRPr lang="he-IL" sz="6600" dirty="0"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828600" y="7461448"/>
            <a:ext cx="5027608" cy="350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7678" y="2895913"/>
            <a:ext cx="7908641" cy="3125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755576" y="3573016"/>
            <a:ext cx="7704856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l" rtl="0"/>
            <a:r>
              <a:rPr lang="en-US" sz="2000" b="1" dirty="0" smtClean="0"/>
              <a:t>Netanyahu </a:t>
            </a:r>
            <a:r>
              <a:rPr lang="en-US" sz="2000" b="1" dirty="0"/>
              <a:t>and the </a:t>
            </a:r>
            <a:r>
              <a:rPr lang="en-US" sz="2000" b="1" dirty="0" smtClean="0"/>
              <a:t>three Chiefs </a:t>
            </a:r>
            <a:r>
              <a:rPr lang="en-US" sz="2000" b="1" dirty="0"/>
              <a:t>of </a:t>
            </a:r>
            <a:r>
              <a:rPr lang="en-US" sz="2000" b="1" dirty="0" smtClean="0"/>
              <a:t>Staff </a:t>
            </a:r>
            <a:r>
              <a:rPr lang="en-US" sz="2000" b="1" dirty="0"/>
              <a:t>are </a:t>
            </a:r>
            <a:r>
              <a:rPr lang="en-US" sz="2000" b="1" dirty="0" smtClean="0"/>
              <a:t>not willing </a:t>
            </a:r>
            <a:r>
              <a:rPr lang="en-US" sz="2000" b="1" dirty="0"/>
              <a:t>to </a:t>
            </a:r>
            <a:r>
              <a:rPr lang="en-US" sz="2000" b="1" dirty="0" smtClean="0"/>
              <a:t>address the Israeli elephant in the room</a:t>
            </a:r>
            <a:endParaRPr lang="he-IL" sz="20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780073" y="4280902"/>
            <a:ext cx="7698735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l" rtl="0"/>
            <a:r>
              <a:rPr lang="en-US" sz="1200" dirty="0" smtClean="0"/>
              <a:t>Israel's defense budget is inflated, adjusted to yesterday's threats, neither transparent nor measurable |</a:t>
            </a:r>
          </a:p>
          <a:p>
            <a:pPr algn="l" rtl="0"/>
            <a:r>
              <a:rPr lang="en-US" sz="1200" dirty="0" smtClean="0"/>
              <a:t>Nevertheless</a:t>
            </a:r>
            <a:r>
              <a:rPr lang="en-US" sz="1200" dirty="0"/>
              <a:t>, even in the ruling party </a:t>
            </a:r>
            <a:r>
              <a:rPr lang="en-US" sz="1200" dirty="0" smtClean="0"/>
              <a:t>and in </a:t>
            </a:r>
            <a:r>
              <a:rPr lang="en-US" sz="1200" dirty="0"/>
              <a:t>the Blue-White Party, they are not willing to touch </a:t>
            </a:r>
            <a:r>
              <a:rPr lang="en-US" sz="1200" dirty="0" smtClean="0"/>
              <a:t>these </a:t>
            </a:r>
            <a:r>
              <a:rPr lang="en-US" sz="1200" dirty="0"/>
              <a:t>budget items before the </a:t>
            </a:r>
            <a:r>
              <a:rPr lang="en-US" sz="1200" dirty="0" smtClean="0"/>
              <a:t>elections | </a:t>
            </a:r>
            <a:r>
              <a:rPr lang="en-US" sz="1200" dirty="0"/>
              <a:t>These are the five issues </a:t>
            </a:r>
            <a:r>
              <a:rPr lang="en-US" sz="1200" dirty="0" smtClean="0"/>
              <a:t>that the </a:t>
            </a:r>
            <a:r>
              <a:rPr lang="en-US" sz="1200" dirty="0"/>
              <a:t>time has come to </a:t>
            </a:r>
            <a:r>
              <a:rPr lang="en-US" sz="1200" dirty="0" smtClean="0"/>
              <a:t>discuss </a:t>
            </a:r>
            <a:endParaRPr lang="he-IL" sz="1200" dirty="0"/>
          </a:p>
        </p:txBody>
      </p:sp>
      <p:sp>
        <p:nvSpPr>
          <p:cNvPr id="7" name="מלבן 6"/>
          <p:cNvSpPr/>
          <p:nvPr/>
        </p:nvSpPr>
        <p:spPr>
          <a:xfrm>
            <a:off x="755576" y="5373216"/>
            <a:ext cx="2160240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1115616" y="3356992"/>
            <a:ext cx="7056784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מלבן 8"/>
          <p:cNvSpPr/>
          <p:nvPr/>
        </p:nvSpPr>
        <p:spPr>
          <a:xfrm>
            <a:off x="6372200" y="5589240"/>
            <a:ext cx="936104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4499992" y="3068960"/>
            <a:ext cx="4032448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 rtl="0"/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rtl="0"/>
            <a:r>
              <a:rPr lang="en-US" sz="14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ll of Today’s Headlines </a:t>
            </a:r>
            <a:r>
              <a:rPr lang="en-US" sz="1400" dirty="0" smtClean="0">
                <a:solidFill>
                  <a:srgbClr val="00B050"/>
                </a:solidFill>
              </a:rPr>
              <a:t>Politics</a:t>
            </a:r>
          </a:p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12" name="מלבן 11"/>
          <p:cNvSpPr/>
          <p:nvPr/>
        </p:nvSpPr>
        <p:spPr>
          <a:xfrm>
            <a:off x="6732240" y="5373216"/>
            <a:ext cx="1728192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מלבן 12"/>
          <p:cNvSpPr/>
          <p:nvPr/>
        </p:nvSpPr>
        <p:spPr>
          <a:xfrm>
            <a:off x="8460432" y="5301208"/>
            <a:ext cx="45719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מלבן 9"/>
          <p:cNvSpPr/>
          <p:nvPr/>
        </p:nvSpPr>
        <p:spPr>
          <a:xfrm>
            <a:off x="4431592" y="4898196"/>
            <a:ext cx="4032448" cy="2589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 rtl="0"/>
            <a:endParaRPr lang="en-US" sz="1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922120091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תרשים 5"/>
          <p:cNvGraphicFramePr/>
          <p:nvPr>
            <p:extLst>
              <p:ext uri="{D42A27DB-BD31-4B8C-83A1-F6EECF244321}">
                <p14:modId xmlns="" xmlns:p14="http://schemas.microsoft.com/office/powerpoint/2010/main" val="133801027"/>
              </p:ext>
            </p:extLst>
          </p:nvPr>
        </p:nvGraphicFramePr>
        <p:xfrm>
          <a:off x="-21733" y="105273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180528" y="121721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/>
            <a:r>
              <a:rPr lang="en-US" sz="2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Government's </a:t>
            </a: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</a:t>
            </a:r>
            <a:r>
              <a:rPr lang="en-US" sz="2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P</a:t>
            </a: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riorities –</a:t>
            </a:r>
            <a:endParaRPr lang="en-US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/>
            <a:r>
              <a:rPr lang="en-US" sz="2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</a:t>
            </a: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Status 2019</a:t>
            </a:r>
            <a:endParaRPr lang="he-IL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2276872"/>
            <a:ext cx="9144000" cy="23544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he-IL" sz="11500" dirty="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521</a:t>
            </a:r>
            <a:endParaRPr lang="he-IL" sz="5400" dirty="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3200" dirty="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Billions </a:t>
            </a:r>
            <a:endParaRPr lang="he-IL" sz="3200" dirty="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061048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 rot="18948122">
            <a:off x="3777487" y="815959"/>
            <a:ext cx="3410809" cy="4476675"/>
          </a:xfrm>
          <a:prstGeom prst="rect">
            <a:avLst/>
          </a:prstGeom>
          <a:noFill/>
        </p:spPr>
        <p:txBody>
          <a:bodyPr wrap="square" rtlCol="1">
            <a:prstTxWarp prst="textCircle">
              <a:avLst>
                <a:gd name="adj" fmla="val 11063321"/>
              </a:avLst>
            </a:prstTxWarp>
            <a:spAutoFit/>
          </a:bodyPr>
          <a:lstStyle/>
          <a:p>
            <a:pPr algn="ctr"/>
            <a:r>
              <a:rPr lang="en-US" sz="2400" b="1" dirty="0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 </a:t>
            </a:r>
            <a:r>
              <a:rPr lang="en-US" sz="2400" b="1" dirty="0" smtClean="0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</a:t>
            </a:r>
            <a:r>
              <a:rPr lang="en-US" sz="2400" b="1" dirty="0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for </a:t>
            </a:r>
            <a:r>
              <a:rPr lang="en-US" sz="2400" b="1" dirty="0" smtClean="0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Government </a:t>
            </a:r>
            <a:r>
              <a:rPr lang="en-US" sz="2400" b="1" dirty="0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</a:t>
            </a:r>
            <a:r>
              <a:rPr lang="en-US" sz="2400" b="1" dirty="0" smtClean="0">
                <a:ln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inistries</a:t>
            </a:r>
            <a:endParaRPr lang="he-IL" sz="2400" b="1" dirty="0">
              <a:ln>
                <a:solidFill>
                  <a:prstClr val="black">
                    <a:lumMod val="75000"/>
                    <a:lumOff val="25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6" name="תרשים 5"/>
          <p:cNvGraphicFramePr/>
          <p:nvPr>
            <p:extLst>
              <p:ext uri="{D42A27DB-BD31-4B8C-83A1-F6EECF244321}">
                <p14:modId xmlns="" xmlns:p14="http://schemas.microsoft.com/office/powerpoint/2010/main" val="4136484916"/>
              </p:ext>
            </p:extLst>
          </p:nvPr>
        </p:nvGraphicFramePr>
        <p:xfrm>
          <a:off x="-10866" y="1160748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1835696" y="3501008"/>
            <a:ext cx="6897960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endParaRPr lang="en-US" sz="6600" dirty="0" smtClean="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>
              <a:defRPr/>
            </a:pPr>
            <a:r>
              <a:rPr lang="en-US" sz="2400" dirty="0" smtClean="0">
                <a:ln w="28575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344 Billions</a:t>
            </a:r>
            <a:endParaRPr lang="he-IL" sz="600" dirty="0">
              <a:ln w="28575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27469" y="1425550"/>
            <a:ext cx="916539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defRPr/>
            </a:pPr>
            <a:r>
              <a:rPr lang="en-US" sz="900" dirty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onditional income E</a:t>
            </a:r>
            <a:r>
              <a:rPr lang="en-US" sz="9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penditure</a:t>
            </a:r>
            <a:r>
              <a:rPr lang="en-US" sz="12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41 Billions </a:t>
            </a:r>
            <a:endParaRPr lang="he-IL" sz="1200" dirty="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20236" y="2546464"/>
            <a:ext cx="1919064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>
              <a:defRPr/>
            </a:pPr>
            <a:r>
              <a:rPr lang="en-US" sz="2000" dirty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Debt </a:t>
            </a:r>
            <a:r>
              <a:rPr lang="en-US" sz="20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Payments 95 Billion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25498" y="3892560"/>
            <a:ext cx="2160240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1200" dirty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Interest </a:t>
            </a:r>
            <a:r>
              <a:rPr lang="en-US" sz="12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Payments</a:t>
            </a:r>
            <a:r>
              <a:rPr lang="he-IL" sz="12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   </a:t>
            </a:r>
            <a:r>
              <a:rPr lang="en-US" sz="12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 </a:t>
            </a:r>
            <a:r>
              <a:rPr lang="he-IL" sz="12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 </a:t>
            </a:r>
            <a:endParaRPr lang="en-US" sz="1200" dirty="0" smtClean="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>
              <a:defRPr/>
            </a:pPr>
            <a:r>
              <a:rPr lang="en-US" sz="1200" dirty="0" smtClean="0">
                <a:ln w="1270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39 Billions </a:t>
            </a:r>
            <a:endParaRPr lang="he-IL" sz="1200" dirty="0">
              <a:ln w="1270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" name="קשת מלאה 13"/>
          <p:cNvSpPr>
            <a:spLocks noChangeAspect="1"/>
          </p:cNvSpPr>
          <p:nvPr/>
        </p:nvSpPr>
        <p:spPr>
          <a:xfrm rot="379047">
            <a:off x="1995887" y="1139098"/>
            <a:ext cx="5148000" cy="5148000"/>
          </a:xfrm>
          <a:prstGeom prst="blockArc">
            <a:avLst>
              <a:gd name="adj1" fmla="val 15911395"/>
              <a:gd name="adj2" fmla="val 8546761"/>
              <a:gd name="adj3" fmla="val 2995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21733" y="10220"/>
            <a:ext cx="914400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32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Where </a:t>
            </a:r>
            <a:r>
              <a:rPr lang="en-US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Does </a:t>
            </a:r>
            <a:r>
              <a:rPr lang="en-US" sz="32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</a:t>
            </a:r>
            <a:r>
              <a:rPr lang="en-US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</a:t>
            </a:r>
            <a:r>
              <a:rPr lang="en-US" sz="32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</a:t>
            </a:r>
            <a:r>
              <a:rPr lang="en-US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ome </a:t>
            </a:r>
            <a:r>
              <a:rPr lang="en-US" sz="32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F</a:t>
            </a:r>
            <a:r>
              <a:rPr lang="en-US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rom?</a:t>
            </a:r>
          </a:p>
          <a:p>
            <a:pPr algn="ctr">
              <a:defRPr/>
            </a:pPr>
            <a:r>
              <a:rPr lang="en-US" sz="16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State Budget for 2019</a:t>
            </a:r>
            <a:endParaRPr lang="he-IL" sz="16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329410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Which Four Government Offices have the Highest Budget?</a:t>
            </a:r>
            <a:endParaRPr lang="he-IL" sz="1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="" xmlns:p14="http://schemas.microsoft.com/office/powerpoint/2010/main" val="1747140351"/>
              </p:ext>
            </p:extLst>
          </p:nvPr>
        </p:nvGraphicFramePr>
        <p:xfrm>
          <a:off x="-10866" y="1160748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-28724" y="6165304"/>
            <a:ext cx="917272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dirty="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offices – 41% from </a:t>
            </a:r>
            <a:r>
              <a:rPr lang="en-US" sz="2400" dirty="0" smtClean="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State Funding </a:t>
            </a:r>
            <a:endParaRPr lang="en-US" sz="2400" dirty="0">
              <a:ln w="38100">
                <a:solidFill>
                  <a:prstClr val="black">
                    <a:lumMod val="50000"/>
                    <a:lumOff val="50000"/>
                  </a:prstClr>
                </a:solidFill>
              </a:ln>
              <a:solidFill>
                <a:prstClr val="black">
                  <a:lumMod val="50000"/>
                  <a:lumOff val="50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52325552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Which Four Government Offices have the Highest Budget? </a:t>
            </a: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="" xmlns:p14="http://schemas.microsoft.com/office/powerpoint/2010/main" val="4235145478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355976" y="2492896"/>
            <a:ext cx="2376264" cy="169277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Defense</a:t>
            </a:r>
            <a:endParaRPr lang="he-IL" sz="28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73</a:t>
            </a:r>
            <a:endParaRPr lang="he-IL" sz="14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illion </a:t>
            </a:r>
            <a:endParaRPr lang="he-IL" sz="14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4%</a:t>
            </a:r>
            <a:endParaRPr lang="he-IL" sz="800" b="1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275856" y="4437112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Education</a:t>
            </a:r>
            <a:endParaRPr lang="he-IL" sz="28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76 Billion</a:t>
            </a:r>
            <a:endParaRPr lang="he-IL" sz="14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6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31840" y="1772816"/>
            <a:ext cx="1584176" cy="90794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Transportation</a:t>
            </a: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21 Billion</a:t>
            </a:r>
            <a:endParaRPr lang="he-IL" sz="1100" dirty="0" smtClean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0</a:t>
            </a: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307970" y="2780187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Health</a:t>
            </a:r>
            <a:endParaRPr lang="he-IL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43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0%</a:t>
            </a:r>
          </a:p>
        </p:txBody>
      </p:sp>
      <p:sp>
        <p:nvSpPr>
          <p:cNvPr id="9" name="מלבן מעוגל 8"/>
          <p:cNvSpPr/>
          <p:nvPr/>
        </p:nvSpPr>
        <p:spPr>
          <a:xfrm rot="3428486">
            <a:off x="965290" y="1434559"/>
            <a:ext cx="756328" cy="148806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9672" y="1258015"/>
            <a:ext cx="1077390" cy="56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סוגר זוויתי 22"/>
          <p:cNvSpPr/>
          <p:nvPr/>
        </p:nvSpPr>
        <p:spPr>
          <a:xfrm flipH="1">
            <a:off x="7668345" y="476672"/>
            <a:ext cx="1440159" cy="864096"/>
          </a:xfrm>
          <a:prstGeom prst="chevron">
            <a:avLst>
              <a:gd name="adj" fmla="val 24804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4" name="סוגר זוויתי 23"/>
          <p:cNvSpPr/>
          <p:nvPr/>
        </p:nvSpPr>
        <p:spPr>
          <a:xfrm flipH="1">
            <a:off x="6444208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5" name="סוגר זוויתי 24"/>
          <p:cNvSpPr/>
          <p:nvPr/>
        </p:nvSpPr>
        <p:spPr>
          <a:xfrm flipH="1">
            <a:off x="5238540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812360" y="476672"/>
            <a:ext cx="1248256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2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 sources (including income)</a:t>
            </a:r>
            <a:endParaRPr lang="he-IL" sz="12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588224" y="476672"/>
            <a:ext cx="1259827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2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Sources of the economy (no income)</a:t>
            </a:r>
            <a:endParaRPr lang="he-IL" sz="12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374338" y="474256"/>
            <a:ext cx="1213886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2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budget, pension and rehabilitation</a:t>
            </a:r>
            <a:endParaRPr lang="en-US" sz="12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67544" y="6426488"/>
            <a:ext cx="8280919" cy="41549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>
              <a:defRPr/>
            </a:pPr>
            <a:r>
              <a:rPr lang="en-US" sz="1050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Source: Ministry of Finance and According to the Budget Law for 2019 (the state budget includes payment of debts), education includes higher education and development.</a:t>
            </a:r>
            <a:endParaRPr lang="he-IL" sz="1050" dirty="0">
              <a:ln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-80005" y="6034725"/>
            <a:ext cx="917272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dirty="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offices – 41% from </a:t>
            </a:r>
            <a:r>
              <a:rPr lang="en-US" sz="2400" dirty="0" smtClean="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State Funding </a:t>
            </a:r>
            <a:endParaRPr lang="en-US" sz="2400" dirty="0">
              <a:ln w="38100">
                <a:solidFill>
                  <a:prstClr val="black">
                    <a:lumMod val="50000"/>
                    <a:lumOff val="50000"/>
                  </a:prstClr>
                </a:solidFill>
              </a:ln>
              <a:solidFill>
                <a:prstClr val="black">
                  <a:lumMod val="50000"/>
                  <a:lumOff val="50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04918493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5496" y="44624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Which Four Government Offices have the Highest Budget? </a:t>
            </a:r>
            <a:endParaRPr lang="en-US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="" xmlns:p14="http://schemas.microsoft.com/office/powerpoint/2010/main" val="2748149757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427984" y="2780928"/>
            <a:ext cx="2376264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Defense</a:t>
            </a:r>
          </a:p>
          <a:p>
            <a:pPr algn="ctr">
              <a:defRPr/>
            </a:pPr>
            <a:r>
              <a:rPr lang="en-US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NIS 53 Billion</a:t>
            </a:r>
          </a:p>
          <a:p>
            <a:pPr algn="ctr">
              <a:defRPr/>
            </a:pPr>
            <a:r>
              <a:rPr lang="he-IL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he-IL" sz="2000" b="1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9</a:t>
            </a: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491880" y="4365104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Education</a:t>
            </a:r>
            <a:endParaRPr lang="he-IL" sz="28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72 Billion</a:t>
            </a:r>
            <a:endParaRPr lang="en-US" sz="14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39</a:t>
            </a: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131840" y="1842209"/>
            <a:ext cx="1637109" cy="93871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12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Transportation</a:t>
            </a:r>
            <a:endParaRPr lang="he-IL" sz="12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21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1</a:t>
            </a:r>
            <a:r>
              <a:rPr lang="he-IL" sz="2000" b="1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% </a:t>
            </a:r>
            <a:endParaRPr lang="he-IL" sz="2000" b="1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39752" y="2913038"/>
            <a:ext cx="1584176" cy="13080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Health</a:t>
            </a:r>
            <a:endParaRPr lang="he-IL" sz="2400" dirty="0" smtClean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39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1%</a:t>
            </a:r>
          </a:p>
        </p:txBody>
      </p:sp>
      <p:sp>
        <p:nvSpPr>
          <p:cNvPr id="9" name="מלבן מעוגל 8"/>
          <p:cNvSpPr/>
          <p:nvPr/>
        </p:nvSpPr>
        <p:spPr>
          <a:xfrm rot="3428486">
            <a:off x="965290" y="1434559"/>
            <a:ext cx="756328" cy="148806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מלבן מעוגל 10"/>
          <p:cNvSpPr/>
          <p:nvPr/>
        </p:nvSpPr>
        <p:spPr>
          <a:xfrm>
            <a:off x="1143133" y="1328962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סוגר זוויתי 30"/>
          <p:cNvSpPr/>
          <p:nvPr/>
        </p:nvSpPr>
        <p:spPr>
          <a:xfrm flipH="1">
            <a:off x="7668345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2" name="סוגר זוויתי 31"/>
          <p:cNvSpPr/>
          <p:nvPr/>
        </p:nvSpPr>
        <p:spPr>
          <a:xfrm flipH="1">
            <a:off x="6453442" y="476672"/>
            <a:ext cx="1440159" cy="864096"/>
          </a:xfrm>
          <a:prstGeom prst="chevron">
            <a:avLst>
              <a:gd name="adj" fmla="val 24804"/>
            </a:avLst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3" name="סוגר זוויתי 32"/>
          <p:cNvSpPr/>
          <p:nvPr/>
        </p:nvSpPr>
        <p:spPr>
          <a:xfrm flipH="1">
            <a:off x="5238540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812360" y="530096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40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tal sources (including income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564104" y="530096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40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urces of the economy (no income)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364088" y="530096"/>
            <a:ext cx="1248256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40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budget, pension and </a:t>
            </a:r>
            <a:r>
              <a:rPr lang="en-US" sz="14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habilitation</a:t>
            </a:r>
            <a:endParaRPr lang="en-US" sz="14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4978" y="1152782"/>
            <a:ext cx="725552" cy="712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19"/>
          <p:cNvSpPr txBox="1"/>
          <p:nvPr/>
        </p:nvSpPr>
        <p:spPr>
          <a:xfrm>
            <a:off x="-28724" y="6093296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800" dirty="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offices – 41% from State Funding 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46608" y="6505742"/>
            <a:ext cx="9170864" cy="7232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sz="10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A source of the Ministry of finance and the budget law for the year 2019 State budget includes paying debts, including education, higher </a:t>
            </a:r>
          </a:p>
          <a:p>
            <a:pPr algn="l" rtl="0"/>
            <a:r>
              <a:rPr lang="en-US" sz="1000" b="1" dirty="0" smtClean="0">
                <a:latin typeface="Segoe UI Semilight" panose="020B0402040204020203" pitchFamily="34" charset="0"/>
                <a:cs typeface="Segoe UI Semilight" panose="020B0402040204020203" pitchFamily="34" charset="0"/>
              </a:rPr>
              <a:t>education and development</a:t>
            </a:r>
          </a:p>
          <a:p>
            <a:pPr algn="l" rtl="0"/>
            <a:r>
              <a:rPr lang="en-US" sz="105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/>
            </a:r>
            <a:br>
              <a:rPr lang="en-US" sz="1050" b="1" dirty="0">
                <a:latin typeface="Segoe UI Semilight" panose="020B0402040204020203" pitchFamily="34" charset="0"/>
                <a:cs typeface="Segoe UI Semilight" panose="020B0402040204020203" pitchFamily="34" charset="0"/>
              </a:rPr>
            </a:br>
            <a:endParaRPr lang="he-IL" sz="1050" b="1" dirty="0">
              <a:ln>
                <a:solidFill>
                  <a:prstClr val="black"/>
                </a:solidFill>
              </a:ln>
              <a:solidFill>
                <a:prstClr val="black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2692536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-36512" y="44624"/>
            <a:ext cx="9144000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Which Four Government Offices have the Highest Budget? </a:t>
            </a:r>
            <a:endParaRPr lang="en-US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3"/>
          <p:cNvGraphicFramePr/>
          <p:nvPr>
            <p:extLst>
              <p:ext uri="{D42A27DB-BD31-4B8C-83A1-F6EECF244321}">
                <p14:modId xmlns="" xmlns:p14="http://schemas.microsoft.com/office/powerpoint/2010/main" val="3496209186"/>
              </p:ext>
            </p:extLst>
          </p:nvPr>
        </p:nvGraphicFramePr>
        <p:xfrm>
          <a:off x="-10866" y="1232756"/>
          <a:ext cx="9165733" cy="51125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355976" y="2192958"/>
            <a:ext cx="2376264" cy="13080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Defense</a:t>
            </a:r>
            <a:endParaRPr lang="he-IL" sz="24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42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4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707904" y="4255928"/>
            <a:ext cx="2376264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8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Education</a:t>
            </a:r>
            <a:endParaRPr lang="he-IL" sz="28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72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1%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59832" y="1772816"/>
            <a:ext cx="1584176" cy="93871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12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Transportation</a:t>
            </a:r>
            <a:endParaRPr lang="he-IL" sz="12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21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2%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339752" y="3025696"/>
            <a:ext cx="1584176" cy="112338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nistry of Health</a:t>
            </a:r>
            <a:endParaRPr lang="he-IL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en-US" sz="11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IS 39 Billion</a:t>
            </a:r>
            <a:endParaRPr lang="he-IL" sz="11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defRPr/>
            </a:pPr>
            <a:r>
              <a:rPr lang="he-IL" sz="2000" b="1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22%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506" y="941719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מלבן מעוגל 11"/>
          <p:cNvSpPr/>
          <p:nvPr/>
        </p:nvSpPr>
        <p:spPr>
          <a:xfrm>
            <a:off x="1143133" y="1540189"/>
            <a:ext cx="468000" cy="180000"/>
          </a:xfrm>
          <a:prstGeom prst="roundRect">
            <a:avLst/>
          </a:prstGeom>
          <a:solidFill>
            <a:srgbClr val="3636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סוגר זוויתי 30"/>
          <p:cNvSpPr/>
          <p:nvPr/>
        </p:nvSpPr>
        <p:spPr>
          <a:xfrm flipH="1">
            <a:off x="7599407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2" name="סוגר זוויתי 31"/>
          <p:cNvSpPr/>
          <p:nvPr/>
        </p:nvSpPr>
        <p:spPr>
          <a:xfrm flipH="1">
            <a:off x="6384504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l"/>
            <a:r>
              <a:rPr lang="en-US" sz="13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urces of the economy (no income)</a:t>
            </a:r>
            <a:endParaRPr lang="en-US" sz="13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סוגר זוויתי 32"/>
          <p:cNvSpPr/>
          <p:nvPr/>
        </p:nvSpPr>
        <p:spPr>
          <a:xfrm flipH="1">
            <a:off x="5169602" y="476672"/>
            <a:ext cx="1440159" cy="864096"/>
          </a:xfrm>
          <a:prstGeom prst="chevron">
            <a:avLst>
              <a:gd name="adj" fmla="val 24804"/>
            </a:avLst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>
              <a:solidFill>
                <a:prstClr val="black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777306" y="471736"/>
            <a:ext cx="1115174" cy="89255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300" dirty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otal sources (including income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02972" y="548680"/>
            <a:ext cx="1248256" cy="29238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he-IL" sz="13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endParaRPr lang="en-US" sz="13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339968" y="476672"/>
            <a:ext cx="1248256" cy="6924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/>
            <a:r>
              <a:rPr lang="en-US" sz="1300" dirty="0" smtClean="0">
                <a:ln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 budget, pension and rehabilitation</a:t>
            </a:r>
            <a:endParaRPr lang="en-US" sz="130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3727" b="96273" l="9211" r="96053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19672" y="926361"/>
            <a:ext cx="935103" cy="990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251520" y="6512714"/>
            <a:ext cx="8703320" cy="3452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800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Source: Ministry of Finance and According to the Budget Law for 2019 (the state budget includes payment of debts), education includes higher education and development</a:t>
            </a:r>
            <a:r>
              <a:rPr lang="he-IL" sz="800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: </a:t>
            </a:r>
            <a:r>
              <a:rPr lang="he-IL" sz="8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משרד האוצר ועל פי חוק התקציב לשנת 2019 (תקציב המדינה כולל תשלום חובות), חינוך כולל השכלה גבוהה ופיתוח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51520" y="6165304"/>
            <a:ext cx="9172724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800" dirty="0" smtClean="0">
                <a:ln w="38100">
                  <a:solidFill>
                    <a:prstClr val="black">
                      <a:lumMod val="50000"/>
                      <a:lumOff val="50000"/>
                    </a:prstClr>
                  </a:solidFill>
                </a:ln>
                <a:solidFill>
                  <a:prstClr val="black">
                    <a:lumMod val="50000"/>
                    <a:lumOff val="50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4 offices – 41% from State Funding </a:t>
            </a:r>
            <a:endParaRPr lang="en-US" sz="2800" dirty="0">
              <a:ln w="38100">
                <a:solidFill>
                  <a:prstClr val="black">
                    <a:lumMod val="50000"/>
                    <a:lumOff val="50000"/>
                  </a:prstClr>
                </a:solidFill>
              </a:ln>
              <a:solidFill>
                <a:prstClr val="black">
                  <a:lumMod val="50000"/>
                  <a:lumOff val="50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2776555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>
              <p:ext uri="{D42A27DB-BD31-4B8C-83A1-F6EECF244321}">
                <p14:modId xmlns="" xmlns:p14="http://schemas.microsoft.com/office/powerpoint/2010/main" val="3028842136"/>
              </p:ext>
            </p:extLst>
          </p:nvPr>
        </p:nvGraphicFramePr>
        <p:xfrm>
          <a:off x="467544" y="548680"/>
          <a:ext cx="7920880" cy="59046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830997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400" b="0" u="none" dirty="0" smtClean="0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Development of Government budgets in the past decade</a:t>
            </a:r>
          </a:p>
          <a:p>
            <a:pPr>
              <a:defRPr/>
            </a:pPr>
            <a:r>
              <a:rPr lang="en-US" sz="2400" b="0" u="none" dirty="0" smtClean="0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Zero-sum game…</a:t>
            </a:r>
            <a:endParaRPr lang="he-IL" sz="2400" b="0" u="none" dirty="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10980712" y="1876073"/>
            <a:ext cx="576064" cy="578242"/>
          </a:xfrm>
          <a:prstGeom prst="rect">
            <a:avLst/>
          </a:prstGeom>
          <a:solidFill>
            <a:srgbClr val="F4C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" name="מלבן 4"/>
          <p:cNvSpPr/>
          <p:nvPr/>
        </p:nvSpPr>
        <p:spPr>
          <a:xfrm>
            <a:off x="11556776" y="1882089"/>
            <a:ext cx="576064" cy="578242"/>
          </a:xfrm>
          <a:prstGeom prst="rect">
            <a:avLst/>
          </a:prstGeom>
          <a:solidFill>
            <a:srgbClr val="488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" name="מלבן 5"/>
          <p:cNvSpPr/>
          <p:nvPr/>
        </p:nvSpPr>
        <p:spPr>
          <a:xfrm>
            <a:off x="11556776" y="2454315"/>
            <a:ext cx="576064" cy="578242"/>
          </a:xfrm>
          <a:prstGeom prst="rect">
            <a:avLst/>
          </a:prstGeom>
          <a:solidFill>
            <a:srgbClr val="DB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" name="מלבן 6"/>
          <p:cNvSpPr/>
          <p:nvPr/>
        </p:nvSpPr>
        <p:spPr>
          <a:xfrm>
            <a:off x="10980712" y="2451738"/>
            <a:ext cx="576064" cy="578242"/>
          </a:xfrm>
          <a:prstGeom prst="rect">
            <a:avLst/>
          </a:prstGeom>
          <a:solidFill>
            <a:srgbClr val="3CB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cxnSp>
        <p:nvCxnSpPr>
          <p:cNvPr id="8" name="מחבר ישר 7"/>
          <p:cNvCxnSpPr/>
          <p:nvPr/>
        </p:nvCxnSpPr>
        <p:spPr>
          <a:xfrm>
            <a:off x="486879" y="6093296"/>
            <a:ext cx="7632848" cy="0"/>
          </a:xfrm>
          <a:prstGeom prst="line">
            <a:avLst/>
          </a:prstGeom>
          <a:ln w="38100">
            <a:solidFill>
              <a:srgbClr val="3B3B4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96141" y="3354016"/>
            <a:ext cx="629153" cy="912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17003" y="2510040"/>
            <a:ext cx="914614" cy="497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19727" y="1052475"/>
            <a:ext cx="981983" cy="700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6" cstate="print"/>
          <a:stretch>
            <a:fillRect/>
          </a:stretch>
        </p:blipFill>
        <p:spPr bwMode="auto">
          <a:xfrm>
            <a:off x="8217003" y="4940599"/>
            <a:ext cx="792299" cy="791519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אליפסה 10"/>
          <p:cNvSpPr/>
          <p:nvPr/>
        </p:nvSpPr>
        <p:spPr>
          <a:xfrm>
            <a:off x="7477299" y="3354016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DB3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אליפסה 16"/>
          <p:cNvSpPr/>
          <p:nvPr/>
        </p:nvSpPr>
        <p:spPr>
          <a:xfrm>
            <a:off x="7477299" y="2451738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4885E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8" name="אליפסה 17"/>
          <p:cNvSpPr/>
          <p:nvPr/>
        </p:nvSpPr>
        <p:spPr>
          <a:xfrm>
            <a:off x="7477299" y="1052475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3CBA5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אליפסה 18"/>
          <p:cNvSpPr/>
          <p:nvPr/>
        </p:nvSpPr>
        <p:spPr>
          <a:xfrm>
            <a:off x="7477299" y="5012322"/>
            <a:ext cx="648072" cy="64807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4C20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TextBox 19"/>
          <p:cNvSpPr txBox="1"/>
          <p:nvPr/>
        </p:nvSpPr>
        <p:spPr>
          <a:xfrm>
            <a:off x="7242696" y="1196752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3.2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242186" y="3501008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2.1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242696" y="2591690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2.5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236296" y="5157192"/>
            <a:ext cx="111829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1">
              <a:defRPr/>
            </a:pPr>
            <a:r>
              <a:rPr lang="en-US" sz="2000" b="0" u="none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X1.3</a:t>
            </a:r>
            <a:endParaRPr lang="he-IL" sz="2000" b="0" u="none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4" name="מלבן 23"/>
          <p:cNvSpPr/>
          <p:nvPr/>
        </p:nvSpPr>
        <p:spPr>
          <a:xfrm flipH="1" flipV="1">
            <a:off x="10476656" y="3890916"/>
            <a:ext cx="1656184" cy="2702877"/>
          </a:xfrm>
          <a:prstGeom prst="rect">
            <a:avLst/>
          </a:prstGeom>
          <a:solidFill>
            <a:srgbClr val="F4C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" name="מלבן 24"/>
          <p:cNvSpPr/>
          <p:nvPr/>
        </p:nvSpPr>
        <p:spPr>
          <a:xfrm flipH="1" flipV="1">
            <a:off x="11052720" y="3896932"/>
            <a:ext cx="1656184" cy="2702877"/>
          </a:xfrm>
          <a:prstGeom prst="rect">
            <a:avLst/>
          </a:prstGeom>
          <a:solidFill>
            <a:srgbClr val="4885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6" name="מלבן 25"/>
          <p:cNvSpPr/>
          <p:nvPr/>
        </p:nvSpPr>
        <p:spPr>
          <a:xfrm flipH="1" flipV="1">
            <a:off x="11052720" y="4469158"/>
            <a:ext cx="1656184" cy="2702877"/>
          </a:xfrm>
          <a:prstGeom prst="rect">
            <a:avLst/>
          </a:prstGeom>
          <a:solidFill>
            <a:srgbClr val="DB32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7" name="מלבן 26"/>
          <p:cNvSpPr/>
          <p:nvPr/>
        </p:nvSpPr>
        <p:spPr>
          <a:xfrm flipH="1" flipV="1">
            <a:off x="10476656" y="4466581"/>
            <a:ext cx="1656184" cy="2702877"/>
          </a:xfrm>
          <a:prstGeom prst="rect">
            <a:avLst/>
          </a:prstGeom>
          <a:solidFill>
            <a:srgbClr val="3CBA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79267805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560" y="1700808"/>
            <a:ext cx="8059759" cy="499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0"/>
            <a:ext cx="9144000" cy="1938992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4000" b="1" dirty="0" smtClean="0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Getting Acquainted with the Budget Department / Financial Advisor and </a:t>
            </a:r>
            <a:r>
              <a:rPr lang="en-US" sz="4000" b="1" dirty="0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</a:t>
            </a:r>
            <a:r>
              <a:rPr lang="en-US" sz="4000" b="1" dirty="0" smtClean="0">
                <a:ln w="63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conomic System</a:t>
            </a:r>
            <a:endParaRPr lang="he-IL" sz="4000" b="1" dirty="0">
              <a:ln w="6350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864957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קבוצה 155"/>
          <p:cNvGrpSpPr>
            <a:grpSpLocks noChangeAspect="1"/>
          </p:cNvGrpSpPr>
          <p:nvPr/>
        </p:nvGrpSpPr>
        <p:grpSpPr>
          <a:xfrm>
            <a:off x="223767" y="867420"/>
            <a:ext cx="4288924" cy="4831605"/>
            <a:chOff x="5023768" y="4034800"/>
            <a:chExt cx="2143125" cy="2143125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מלבן 5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grpSp>
        <p:nvGrpSpPr>
          <p:cNvPr id="3" name="קבוצה 155"/>
          <p:cNvGrpSpPr>
            <a:grpSpLocks noChangeAspect="1"/>
          </p:cNvGrpSpPr>
          <p:nvPr/>
        </p:nvGrpSpPr>
        <p:grpSpPr>
          <a:xfrm>
            <a:off x="4627199" y="836712"/>
            <a:ext cx="4288924" cy="4831605"/>
            <a:chOff x="5023768" y="4034800"/>
            <a:chExt cx="2143125" cy="214312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מלבן 8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מלבן 9"/>
          <p:cNvSpPr/>
          <p:nvPr/>
        </p:nvSpPr>
        <p:spPr>
          <a:xfrm>
            <a:off x="-36512" y="169476"/>
            <a:ext cx="9144001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Process of Approving the Defense Budget Book for 2019 in the Knesset</a:t>
            </a:r>
            <a:endParaRPr lang="he-IL" sz="20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4970540" y="1986908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1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3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4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5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6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7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9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90821" y="1986908"/>
            <a:ext cx="3384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0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39600" y="5726737"/>
            <a:ext cx="28403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3200" dirty="0" smtClean="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Hours of Discussion</a:t>
            </a:r>
            <a:endParaRPr lang="he-IL" sz="3200" dirty="0">
              <a:ln w="19050">
                <a:solidFill>
                  <a:prstClr val="black">
                    <a:lumMod val="75000"/>
                    <a:lumOff val="25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148065" y="5733256"/>
            <a:ext cx="3312367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dirty="0" smtClean="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iscussions in the Foreign Affairs and Defense Committee</a:t>
            </a:r>
            <a:endParaRPr lang="he-IL" sz="2400" dirty="0">
              <a:ln w="19050">
                <a:solidFill>
                  <a:prstClr val="black">
                    <a:lumMod val="75000"/>
                    <a:lumOff val="25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4631292" y="836712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223767" y="867420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4627199" y="5030509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223767" y="5032219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967664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2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3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4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600"/>
                            </p:stCondLst>
                            <p:childTnLst>
                              <p:par>
                                <p:cTn id="2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700"/>
                            </p:stCondLst>
                            <p:childTnLst>
                              <p:par>
                                <p:cTn id="2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800"/>
                            </p:stCondLst>
                            <p:childTnLst>
                              <p:par>
                                <p:cTn id="2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 nodeType="afterGroup">
                            <p:stCondLst>
                              <p:cond delay="900"/>
                            </p:stCondLst>
                            <p:childTnLst>
                              <p:par>
                                <p:cTn id="3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 nodeType="afterGroup">
                            <p:stCondLst>
                              <p:cond delay="110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120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130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 nodeType="afterGroup">
                            <p:stCondLst>
                              <p:cond delay="140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 nodeType="afterGroup">
                            <p:stCondLst>
                              <p:cond delay="141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 nodeType="afterGroup">
                            <p:stCondLst>
                              <p:cond delay="151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 nodeType="afterGroup">
                            <p:stCondLst>
                              <p:cond delay="161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171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 nodeType="afterGroup">
                            <p:stCondLst>
                              <p:cond delay="1810"/>
                            </p:stCondLst>
                            <p:childTnLst>
                              <p:par>
                                <p:cTn id="6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 nodeType="afterGroup">
                            <p:stCondLst>
                              <p:cond delay="1910"/>
                            </p:stCondLst>
                            <p:childTnLst>
                              <p:par>
                                <p:cTn id="6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 nodeType="afterGroup">
                            <p:stCondLst>
                              <p:cond delay="2010"/>
                            </p:stCondLst>
                            <p:childTnLst>
                              <p:par>
                                <p:cTn id="6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2110"/>
                            </p:stCondLst>
                            <p:childTnLst>
                              <p:par>
                                <p:cTn id="7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 nodeType="afterGroup">
                            <p:stCondLst>
                              <p:cond delay="2210"/>
                            </p:stCondLst>
                            <p:childTnLst>
                              <p:par>
                                <p:cTn id="7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 nodeType="afterGroup">
                            <p:stCondLst>
                              <p:cond delay="2310"/>
                            </p:stCondLst>
                            <p:childTnLst>
                              <p:par>
                                <p:cTn id="7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 nodeType="afterGroup">
                            <p:stCondLst>
                              <p:cond delay="2410"/>
                            </p:stCondLst>
                            <p:childTnLst>
                              <p:par>
                                <p:cTn id="8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 nodeType="afterGroup">
                            <p:stCondLst>
                              <p:cond delay="2510"/>
                            </p:stCondLst>
                            <p:childTnLst>
                              <p:par>
                                <p:cTn id="8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 nodeType="afterGroup">
                            <p:stCondLst>
                              <p:cond delay="2610"/>
                            </p:stCondLst>
                            <p:childTnLst>
                              <p:par>
                                <p:cTn id="8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 nodeType="afterGroup">
                            <p:stCondLst>
                              <p:cond delay="2710"/>
                            </p:stCondLst>
                            <p:childTnLst>
                              <p:par>
                                <p:cTn id="8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 nodeType="afterGroup">
                            <p:stCondLst>
                              <p:cond delay="2810"/>
                            </p:stCondLst>
                            <p:childTnLst>
                              <p:par>
                                <p:cTn id="9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 nodeType="afterGroup">
                            <p:stCondLst>
                              <p:cond delay="2910"/>
                            </p:stCondLst>
                            <p:childTnLst>
                              <p:par>
                                <p:cTn id="9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7" fill="hold" nodeType="afterGroup">
                            <p:stCondLst>
                              <p:cond delay="3010"/>
                            </p:stCondLst>
                            <p:childTnLst>
                              <p:par>
                                <p:cTn id="9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 nodeType="afterGroup">
                            <p:stCondLst>
                              <p:cond delay="3110"/>
                            </p:stCondLst>
                            <p:childTnLst>
                              <p:par>
                                <p:cTn id="10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3" fill="hold" nodeType="afterGroup">
                            <p:stCondLst>
                              <p:cond delay="3210"/>
                            </p:stCondLst>
                            <p:childTnLst>
                              <p:par>
                                <p:cTn id="10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 nodeType="afterGroup">
                            <p:stCondLst>
                              <p:cond delay="3310"/>
                            </p:stCondLst>
                            <p:childTnLst>
                              <p:par>
                                <p:cTn id="10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afterGroup">
                            <p:stCondLst>
                              <p:cond delay="3410"/>
                            </p:stCondLst>
                            <p:childTnLst>
                              <p:par>
                                <p:cTn id="11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 nodeType="afterGroup">
                            <p:stCondLst>
                              <p:cond delay="3510"/>
                            </p:stCondLst>
                            <p:childTnLst>
                              <p:par>
                                <p:cTn id="1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 nodeType="afterGroup">
                            <p:stCondLst>
                              <p:cond delay="3610"/>
                            </p:stCondLst>
                            <p:childTnLst>
                              <p:par>
                                <p:cTn id="11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8" fill="hold" nodeType="afterGroup">
                            <p:stCondLst>
                              <p:cond delay="3710"/>
                            </p:stCondLst>
                            <p:childTnLst>
                              <p:par>
                                <p:cTn id="11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 nodeType="afterGroup">
                            <p:stCondLst>
                              <p:cond delay="3810"/>
                            </p:stCondLst>
                            <p:childTnLst>
                              <p:par>
                                <p:cTn id="1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4" fill="hold" nodeType="afterGroup">
                            <p:stCondLst>
                              <p:cond delay="3910"/>
                            </p:stCondLst>
                            <p:childTnLst>
                              <p:par>
                                <p:cTn id="12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7" fill="hold" nodeType="afterGroup">
                            <p:stCondLst>
                              <p:cond delay="4010"/>
                            </p:stCondLst>
                            <p:childTnLst>
                              <p:par>
                                <p:cTn id="12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 nodeType="afterGroup">
                            <p:stCondLst>
                              <p:cond delay="4110"/>
                            </p:stCondLst>
                            <p:childTnLst>
                              <p:par>
                                <p:cTn id="13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 nodeType="afterGroup">
                            <p:stCondLst>
                              <p:cond delay="4210"/>
                            </p:stCondLst>
                            <p:childTnLst>
                              <p:par>
                                <p:cTn id="13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6" fill="hold" nodeType="afterGroup">
                            <p:stCondLst>
                              <p:cond delay="4310"/>
                            </p:stCondLst>
                            <p:childTnLst>
                              <p:par>
                                <p:cTn id="13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9" fill="hold" nodeType="afterGroup">
                            <p:stCondLst>
                              <p:cond delay="4410"/>
                            </p:stCondLst>
                            <p:childTnLst>
                              <p:par>
                                <p:cTn id="14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2" fill="hold" nodeType="afterGroup">
                            <p:stCondLst>
                              <p:cond delay="4510"/>
                            </p:stCondLst>
                            <p:childTnLst>
                              <p:par>
                                <p:cTn id="14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5" fill="hold" nodeType="afterGroup">
                            <p:stCondLst>
                              <p:cond delay="4610"/>
                            </p:stCondLst>
                            <p:childTnLst>
                              <p:par>
                                <p:cTn id="14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 nodeType="afterGroup">
                            <p:stCondLst>
                              <p:cond delay="4710"/>
                            </p:stCondLst>
                            <p:childTnLst>
                              <p:par>
                                <p:cTn id="14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1" fill="hold" nodeType="afterGroup">
                            <p:stCondLst>
                              <p:cond delay="4810"/>
                            </p:stCondLst>
                            <p:childTnLst>
                              <p:par>
                                <p:cTn id="15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4" fill="hold" nodeType="afterGroup">
                            <p:stCondLst>
                              <p:cond delay="4910"/>
                            </p:stCondLst>
                            <p:childTnLst>
                              <p:par>
                                <p:cTn id="15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 nodeType="afterGroup">
                            <p:stCondLst>
                              <p:cond delay="5010"/>
                            </p:stCondLst>
                            <p:childTnLst>
                              <p:par>
                                <p:cTn id="15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0" fill="hold" nodeType="afterGroup">
                            <p:stCondLst>
                              <p:cond delay="5110"/>
                            </p:stCondLst>
                            <p:childTnLst>
                              <p:par>
                                <p:cTn id="16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3" fill="hold" nodeType="afterGroup">
                            <p:stCondLst>
                              <p:cond delay="5210"/>
                            </p:stCondLst>
                            <p:childTnLst>
                              <p:par>
                                <p:cTn id="16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6" fill="hold" nodeType="afterGroup">
                            <p:stCondLst>
                              <p:cond delay="5310"/>
                            </p:stCondLst>
                            <p:childTnLst>
                              <p:par>
                                <p:cTn id="1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8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9" fill="hold" nodeType="afterGroup">
                            <p:stCondLst>
                              <p:cond delay="5410"/>
                            </p:stCondLst>
                            <p:childTnLst>
                              <p:par>
                                <p:cTn id="17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9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קבוצה 155"/>
          <p:cNvGrpSpPr>
            <a:grpSpLocks noChangeAspect="1"/>
          </p:cNvGrpSpPr>
          <p:nvPr/>
        </p:nvGrpSpPr>
        <p:grpSpPr>
          <a:xfrm>
            <a:off x="195682" y="791245"/>
            <a:ext cx="4288924" cy="4831605"/>
            <a:chOff x="5023768" y="4034800"/>
            <a:chExt cx="2143125" cy="2143125"/>
          </a:xfrm>
        </p:grpSpPr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מלבן 5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540144" y="1794360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E65B3C"/>
                  </a:solidFill>
                </a:ln>
                <a:solidFill>
                  <a:srgbClr val="E65B3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he-IL" sz="23900" b="1">
              <a:ln w="19050">
                <a:solidFill>
                  <a:srgbClr val="E65B3C"/>
                </a:solidFill>
              </a:ln>
              <a:solidFill>
                <a:srgbClr val="E65B3C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3" name="קבוצה 155"/>
          <p:cNvGrpSpPr>
            <a:grpSpLocks noChangeAspect="1"/>
          </p:cNvGrpSpPr>
          <p:nvPr/>
        </p:nvGrpSpPr>
        <p:grpSpPr>
          <a:xfrm>
            <a:off x="4665299" y="760537"/>
            <a:ext cx="4288924" cy="4831605"/>
            <a:chOff x="5023768" y="4034800"/>
            <a:chExt cx="2143125" cy="2143125"/>
          </a:xfrm>
        </p:grpSpPr>
        <p:pic>
          <p:nvPicPr>
            <p:cNvPr id="8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5023768" y="4034800"/>
              <a:ext cx="2143125" cy="21431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מלבן 8"/>
            <p:cNvSpPr/>
            <p:nvPr/>
          </p:nvSpPr>
          <p:spPr>
            <a:xfrm>
              <a:off x="5649209" y="4881179"/>
              <a:ext cx="835383" cy="1067681"/>
            </a:xfrm>
            <a:prstGeom prst="rect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1" anchor="ctr"/>
            <a:lstStyle/>
            <a:p>
              <a:pPr algn="ctr">
                <a:defRPr/>
              </a:pPr>
              <a:endParaRPr lang="he-IL" sz="1200" kern="0">
                <a:solidFill>
                  <a:prstClr val="white"/>
                </a:solidFill>
              </a:endParaRPr>
            </a:p>
          </p:txBody>
        </p:sp>
      </p:grpSp>
      <p:sp>
        <p:nvSpPr>
          <p:cNvPr id="10" name="מלבן 9"/>
          <p:cNvSpPr/>
          <p:nvPr/>
        </p:nvSpPr>
        <p:spPr>
          <a:xfrm>
            <a:off x="14369" y="44624"/>
            <a:ext cx="914400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nd What About the Education Budget?</a:t>
            </a:r>
            <a:endParaRPr lang="he-IL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03044" y="1844824"/>
            <a:ext cx="3600000" cy="3770263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/>
            <a:r>
              <a:rPr lang="en-US" sz="23900" b="1">
                <a:ln w="19050">
                  <a:solidFill>
                    <a:srgbClr val="558ED5"/>
                  </a:solidFill>
                </a:ln>
                <a:solidFill>
                  <a:srgbClr val="558ED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he-IL" sz="23900" b="1">
              <a:ln w="19050">
                <a:solidFill>
                  <a:srgbClr val="558ED5"/>
                </a:solidFill>
              </a:ln>
              <a:solidFill>
                <a:srgbClr val="558ED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939600" y="5650562"/>
            <a:ext cx="2840311" cy="107721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3200" dirty="0" smtClean="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Hours of Discussion</a:t>
            </a:r>
            <a:endParaRPr lang="he-IL" sz="3200" dirty="0">
              <a:ln w="19050">
                <a:solidFill>
                  <a:prstClr val="black">
                    <a:lumMod val="75000"/>
                    <a:lumOff val="25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5076056" y="5589240"/>
            <a:ext cx="360040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dirty="0" smtClean="0">
                <a:ln w="19050">
                  <a:solidFill>
                    <a:prstClr val="black">
                      <a:lumMod val="75000"/>
                      <a:lumOff val="25000"/>
                    </a:prstClr>
                  </a:solidFill>
                </a:ln>
                <a:solidFill>
                  <a:prstClr val="black">
                    <a:lumMod val="75000"/>
                    <a:lumOff val="2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Discussions in the Foreign Affairs and Defense Committee</a:t>
            </a:r>
            <a:endParaRPr lang="he-IL" sz="2400" dirty="0">
              <a:ln w="19050">
                <a:solidFill>
                  <a:prstClr val="black">
                    <a:lumMod val="75000"/>
                    <a:lumOff val="25000"/>
                  </a:prstClr>
                </a:solidFill>
              </a:ln>
              <a:solidFill>
                <a:prstClr val="black">
                  <a:lumMod val="75000"/>
                  <a:lumOff val="2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7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4669392" y="760537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65736"/>
          <a:stretch>
            <a:fillRect/>
          </a:stretch>
        </p:blipFill>
        <p:spPr bwMode="auto">
          <a:xfrm>
            <a:off x="195682" y="791245"/>
            <a:ext cx="4288925" cy="1655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4665299" y="4954334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85590"/>
          <a:stretch>
            <a:fillRect/>
          </a:stretch>
        </p:blipFill>
        <p:spPr bwMode="auto">
          <a:xfrm>
            <a:off x="195682" y="4956044"/>
            <a:ext cx="4288924" cy="696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Y:\תמונות למצגת\סמלים\לוגו יועכל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5891604"/>
            <a:ext cx="570924" cy="9717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4060666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1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99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2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1" descr="C:\Users\U13311\AppData\Local\Microsoft\Windows\Temporary Internet Files\Content.Outlook\7AUJUGK7\4GJI86R7.jpg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-2670745">
            <a:off x="3721100" y="3400425"/>
            <a:ext cx="1804988" cy="109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צורה חופשית 10"/>
          <p:cNvSpPr/>
          <p:nvPr/>
        </p:nvSpPr>
        <p:spPr>
          <a:xfrm rot="517122">
            <a:off x="4530725" y="4016375"/>
            <a:ext cx="2170113" cy="1346200"/>
          </a:xfrm>
          <a:custGeom>
            <a:avLst/>
            <a:gdLst>
              <a:gd name="connsiteX0" fmla="*/ 0 w 7151298"/>
              <a:gd name="connsiteY0" fmla="*/ 0 h 2958860"/>
              <a:gd name="connsiteX1" fmla="*/ 2363638 w 7151298"/>
              <a:gd name="connsiteY1" fmla="*/ 1846053 h 2958860"/>
              <a:gd name="connsiteX2" fmla="*/ 7151298 w 7151298"/>
              <a:gd name="connsiteY2" fmla="*/ 2958860 h 2958860"/>
              <a:gd name="connsiteX3" fmla="*/ 7151298 w 7151298"/>
              <a:gd name="connsiteY3" fmla="*/ 2958860 h 295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298" h="2958860">
                <a:moveTo>
                  <a:pt x="0" y="0"/>
                </a:moveTo>
                <a:cubicBezTo>
                  <a:pt x="585877" y="676455"/>
                  <a:pt x="1171755" y="1352910"/>
                  <a:pt x="2363638" y="1846053"/>
                </a:cubicBezTo>
                <a:cubicBezTo>
                  <a:pt x="3555521" y="2339196"/>
                  <a:pt x="7151298" y="2958860"/>
                  <a:pt x="7151298" y="2958860"/>
                </a:cubicBezTo>
                <a:lnTo>
                  <a:pt x="7151298" y="2958860"/>
                </a:ln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black"/>
              </a:solidFill>
            </a:endParaRPr>
          </a:p>
        </p:txBody>
      </p:sp>
      <p:pic>
        <p:nvPicPr>
          <p:cNvPr id="29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4" cstate="print"/>
          <a:srcRect l="71175" b="71767"/>
          <a:stretch>
            <a:fillRect/>
          </a:stretch>
        </p:blipFill>
        <p:spPr bwMode="auto">
          <a:xfrm>
            <a:off x="323850" y="1004888"/>
            <a:ext cx="1152525" cy="120015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כותרת 1"/>
          <p:cNvSpPr>
            <a:spLocks noGrp="1"/>
          </p:cNvSpPr>
          <p:nvPr>
            <p:ph type="ctrTitle"/>
          </p:nvPr>
        </p:nvSpPr>
        <p:spPr>
          <a:xfrm>
            <a:off x="904056" y="116633"/>
            <a:ext cx="7772400" cy="720079"/>
          </a:xfrm>
          <a:extLst/>
        </p:spPr>
        <p:txBody>
          <a:bodyPr rtlCol="1">
            <a:noAutofit/>
          </a:bodyPr>
          <a:lstStyle/>
          <a:p>
            <a:pPr rtl="0" eaLnBrk="1" fontAlgn="auto" hangingPunct="1">
              <a:spcAft>
                <a:spcPct val="0"/>
              </a:spcAft>
              <a:defRPr/>
            </a:pPr>
            <a:r>
              <a:rPr lang="en-US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Walking On a Thin Line</a:t>
            </a:r>
            <a:endParaRPr lang="he-IL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ea typeface="+mn-ea"/>
              <a:cs typeface="Lucida Sans Unicode" panose="020B0602030504020204" pitchFamily="34" charset="0"/>
            </a:endParaRPr>
          </a:p>
        </p:txBody>
      </p:sp>
      <p:sp>
        <p:nvSpPr>
          <p:cNvPr id="4" name="כותרת 1"/>
          <p:cNvSpPr txBox="1"/>
          <p:nvPr/>
        </p:nvSpPr>
        <p:spPr>
          <a:xfrm>
            <a:off x="6156176" y="3861048"/>
            <a:ext cx="2736304" cy="1368151"/>
          </a:xfrm>
          <a:prstGeom prst="rect">
            <a:avLst/>
          </a:prstGeom>
        </p:spPr>
        <p:txBody>
          <a:bodyPr rtlCol="1" anchor="ctr">
            <a:normAutofit fontScale="92500" lnSpcReduction="10000"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6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0 Control</a:t>
            </a:r>
          </a:p>
          <a:p>
            <a:pPr>
              <a:defRPr/>
            </a:pPr>
            <a:r>
              <a:rPr lang="en-US" sz="2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Paralysis</a:t>
            </a:r>
            <a:endParaRPr lang="en-US" sz="3000" dirty="0" smtClean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+mn-ea"/>
              <a:cs typeface="Lucida Sans Unicode" panose="020B0602030504020204" pitchFamily="34" charset="0"/>
            </a:endParaRPr>
          </a:p>
          <a:p>
            <a:pPr>
              <a:defRPr/>
            </a:pPr>
            <a:r>
              <a:rPr lang="en-US" sz="17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The unique military system</a:t>
            </a:r>
            <a:endParaRPr lang="he-IL" sz="6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ea typeface="+mn-ea"/>
              <a:cs typeface="Lucida Sans Unicode" panose="020B0602030504020204" pitchFamily="34" charset="0"/>
            </a:endParaRPr>
          </a:p>
        </p:txBody>
      </p:sp>
      <p:sp>
        <p:nvSpPr>
          <p:cNvPr id="6" name="צורה חופשית 5"/>
          <p:cNvSpPr/>
          <p:nvPr/>
        </p:nvSpPr>
        <p:spPr>
          <a:xfrm>
            <a:off x="2124075" y="1992313"/>
            <a:ext cx="2408238" cy="1868487"/>
          </a:xfrm>
          <a:custGeom>
            <a:avLst/>
            <a:gdLst>
              <a:gd name="connsiteX0" fmla="*/ 0 w 7151298"/>
              <a:gd name="connsiteY0" fmla="*/ 0 h 2958860"/>
              <a:gd name="connsiteX1" fmla="*/ 2363638 w 7151298"/>
              <a:gd name="connsiteY1" fmla="*/ 1846053 h 2958860"/>
              <a:gd name="connsiteX2" fmla="*/ 7151298 w 7151298"/>
              <a:gd name="connsiteY2" fmla="*/ 2958860 h 2958860"/>
              <a:gd name="connsiteX3" fmla="*/ 7151298 w 7151298"/>
              <a:gd name="connsiteY3" fmla="*/ 2958860 h 2958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51298" h="2958860">
                <a:moveTo>
                  <a:pt x="0" y="0"/>
                </a:moveTo>
                <a:cubicBezTo>
                  <a:pt x="585877" y="676455"/>
                  <a:pt x="1171755" y="1352910"/>
                  <a:pt x="2363638" y="1846053"/>
                </a:cubicBezTo>
                <a:cubicBezTo>
                  <a:pt x="3555521" y="2339196"/>
                  <a:pt x="7151298" y="2958860"/>
                  <a:pt x="7151298" y="2958860"/>
                </a:cubicBezTo>
                <a:lnTo>
                  <a:pt x="7151298" y="2958860"/>
                </a:ln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black"/>
              </a:solidFill>
            </a:endParaRPr>
          </a:p>
        </p:txBody>
      </p:sp>
      <p:pic>
        <p:nvPicPr>
          <p:cNvPr id="12297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575898" flipH="1">
            <a:off x="5141913" y="3706813"/>
            <a:ext cx="847725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8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4497661" flipH="1">
            <a:off x="5322094" y="4593431"/>
            <a:ext cx="84772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9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388501" flipH="1">
            <a:off x="3459163" y="2436813"/>
            <a:ext cx="846137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00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2847553" flipH="1">
            <a:off x="2845594" y="2143919"/>
            <a:ext cx="847725" cy="1160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115616" y="980728"/>
            <a:ext cx="3899016" cy="1384995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pPr algn="ctr" rtl="0">
              <a:defRPr/>
            </a:pPr>
            <a:r>
              <a:rPr lang="en-US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100% Transparency</a:t>
            </a:r>
            <a:endParaRPr lang="he-IL" sz="2800" dirty="0" smtClean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>
              <a:defRPr/>
            </a:pPr>
            <a:r>
              <a:rPr lang="en-US" sz="1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Full implantations of recommendations</a:t>
            </a:r>
          </a:p>
          <a:p>
            <a:pPr algn="ctr" rtl="0">
              <a:defRPr/>
            </a:pPr>
            <a:r>
              <a:rPr lang="en-US" sz="1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nd decisions to increase transparency</a:t>
            </a:r>
            <a:endParaRPr lang="he-IL" sz="1400" dirty="0" smtClean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>
              <a:defRPr/>
            </a:pPr>
            <a:endParaRPr lang="he-IL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2302" name="Picture 2" descr="http://2.bp.blogspot.com/-Z0CdWMSOpTA/USZGlfWa_NI/AAAAAAAACt0/1YJ4-D6ulFo/s1600/pitr_walking_man_scalable_vector_graphics_svg_clip_art_wall_paper_background-1332px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7085659" flipH="1">
            <a:off x="5736431" y="5387182"/>
            <a:ext cx="847725" cy="1160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-4935" r="4935" b="5435"/>
          <a:stretch>
            <a:fillRect/>
          </a:stretch>
        </p:blipFill>
        <p:spPr bwMode="auto">
          <a:xfrm>
            <a:off x="7020272" y="5292603"/>
            <a:ext cx="1675141" cy="849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2003361474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300712"/>
            <a:ext cx="9143999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4800" dirty="0" smtClean="0">
                <a:ln w="19050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Importance of US Assistance and the Challenge of Decreasing Exchanges</a:t>
            </a:r>
            <a:endParaRPr lang="he-IL" sz="4800" dirty="0"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4" name="Picture 9" descr="C:\Users\U00699\AppData\Local\Microsoft\Windows\Temporary Internet Files\Content.Outlook\YPLI93D5\image00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91680" y="3501008"/>
            <a:ext cx="5544616" cy="326784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219279413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מלבן 5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1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he-IL" sz="1400" b="1">
              <a:latin typeface="Calibri"/>
              <a:cs typeface="Arial"/>
              <a:sym typeface="Calibri"/>
            </a:endParaRPr>
          </a:p>
        </p:txBody>
      </p:sp>
      <p:sp>
        <p:nvSpPr>
          <p:cNvPr id="156" name="מלבן 155"/>
          <p:cNvSpPr/>
          <p:nvPr/>
        </p:nvSpPr>
        <p:spPr>
          <a:xfrm>
            <a:off x="560388" y="6364288"/>
            <a:ext cx="4140000" cy="2160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5" name="מלבן 154"/>
          <p:cNvSpPr/>
          <p:nvPr/>
        </p:nvSpPr>
        <p:spPr>
          <a:xfrm>
            <a:off x="4762500" y="6354763"/>
            <a:ext cx="4140000" cy="21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1" name="צורה חופשית 120300"/>
          <p:cNvSpPr/>
          <p:nvPr>
            <p:custDataLst>
              <p:tags r:id="rId2"/>
            </p:custDataLst>
          </p:nvPr>
        </p:nvSpPr>
        <p:spPr bwMode="auto">
          <a:xfrm rot="933474">
            <a:off x="7702550" y="5401572"/>
            <a:ext cx="354014" cy="152401"/>
          </a:xfrm>
          <a:custGeom>
            <a:avLst/>
            <a:gdLst/>
            <a:ahLst/>
            <a:cxnLst/>
            <a:rect l="0" t="0" r="0" b="0"/>
            <a:pathLst>
              <a:path w="354014" h="152401">
                <a:moveTo>
                  <a:pt x="0" y="95250"/>
                </a:moveTo>
                <a:lnTo>
                  <a:pt x="354013" y="0"/>
                </a:lnTo>
                <a:lnTo>
                  <a:pt x="354013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5" name="צורה חופשית 234"/>
          <p:cNvSpPr/>
          <p:nvPr>
            <p:custDataLst>
              <p:tags r:id="rId3"/>
            </p:custDataLst>
          </p:nvPr>
        </p:nvSpPr>
        <p:spPr bwMode="auto">
          <a:xfrm rot="793027">
            <a:off x="3054350" y="5365750"/>
            <a:ext cx="354014" cy="152401"/>
          </a:xfrm>
          <a:custGeom>
            <a:avLst/>
            <a:gdLst/>
            <a:ahLst/>
            <a:cxnLst/>
            <a:rect l="0" t="0" r="0" b="0"/>
            <a:pathLst>
              <a:path w="354014" h="152401">
                <a:moveTo>
                  <a:pt x="0" y="95250"/>
                </a:moveTo>
                <a:lnTo>
                  <a:pt x="354013" y="0"/>
                </a:lnTo>
                <a:lnTo>
                  <a:pt x="354013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7" name="צורה חופשית 246"/>
          <p:cNvSpPr/>
          <p:nvPr>
            <p:custDataLst>
              <p:tags r:id="rId4"/>
            </p:custDataLst>
          </p:nvPr>
        </p:nvSpPr>
        <p:spPr bwMode="auto">
          <a:xfrm rot="933474">
            <a:off x="4745038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53" name="צורה חופשית 252"/>
          <p:cNvSpPr/>
          <p:nvPr>
            <p:custDataLst>
              <p:tags r:id="rId5"/>
            </p:custDataLst>
          </p:nvPr>
        </p:nvSpPr>
        <p:spPr bwMode="auto">
          <a:xfrm rot="933474">
            <a:off x="5589588" y="5401572"/>
            <a:ext cx="354013" cy="152401"/>
          </a:xfrm>
          <a:custGeom>
            <a:avLst/>
            <a:gdLst/>
            <a:ahLst/>
            <a:cxnLst/>
            <a:rect l="0" t="0" r="0" b="0"/>
            <a:pathLst>
              <a:path w="354013" h="152401">
                <a:moveTo>
                  <a:pt x="0" y="95250"/>
                </a:moveTo>
                <a:lnTo>
                  <a:pt x="354012" y="0"/>
                </a:lnTo>
                <a:lnTo>
                  <a:pt x="354012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50" name="צורה חופשית 249"/>
          <p:cNvSpPr/>
          <p:nvPr>
            <p:custDataLst>
              <p:tags r:id="rId6"/>
            </p:custDataLst>
          </p:nvPr>
        </p:nvSpPr>
        <p:spPr bwMode="auto">
          <a:xfrm rot="933474">
            <a:off x="5167313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9" name="צורה חופשית 228"/>
          <p:cNvSpPr/>
          <p:nvPr>
            <p:custDataLst>
              <p:tags r:id="rId7"/>
            </p:custDataLst>
          </p:nvPr>
        </p:nvSpPr>
        <p:spPr bwMode="auto">
          <a:xfrm rot="793027">
            <a:off x="220980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8" name="צורה חופשית 237"/>
          <p:cNvSpPr/>
          <p:nvPr>
            <p:custDataLst>
              <p:tags r:id="rId8"/>
            </p:custDataLst>
          </p:nvPr>
        </p:nvSpPr>
        <p:spPr bwMode="auto">
          <a:xfrm rot="793027">
            <a:off x="34782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4" name="צורה חופשית 120303"/>
          <p:cNvSpPr/>
          <p:nvPr>
            <p:custDataLst>
              <p:tags r:id="rId9"/>
            </p:custDataLst>
          </p:nvPr>
        </p:nvSpPr>
        <p:spPr bwMode="auto">
          <a:xfrm rot="933474">
            <a:off x="8126413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307" name="צורה חופשית 120306"/>
          <p:cNvSpPr/>
          <p:nvPr>
            <p:custDataLst>
              <p:tags r:id="rId10"/>
            </p:custDataLst>
          </p:nvPr>
        </p:nvSpPr>
        <p:spPr bwMode="auto">
          <a:xfrm rot="933474">
            <a:off x="8548688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4" name="צורה חופשית 243"/>
          <p:cNvSpPr/>
          <p:nvPr>
            <p:custDataLst>
              <p:tags r:id="rId11"/>
            </p:custDataLst>
          </p:nvPr>
        </p:nvSpPr>
        <p:spPr bwMode="auto">
          <a:xfrm rot="793027">
            <a:off x="432276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5" name="צורה חופשית 120294"/>
          <p:cNvSpPr/>
          <p:nvPr>
            <p:custDataLst>
              <p:tags r:id="rId12"/>
            </p:custDataLst>
          </p:nvPr>
        </p:nvSpPr>
        <p:spPr bwMode="auto">
          <a:xfrm rot="933474">
            <a:off x="6858000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6" name="צורה חופשית 225"/>
          <p:cNvSpPr/>
          <p:nvPr>
            <p:custDataLst>
              <p:tags r:id="rId13"/>
            </p:custDataLst>
          </p:nvPr>
        </p:nvSpPr>
        <p:spPr bwMode="auto">
          <a:xfrm rot="793027">
            <a:off x="178752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88" name="צורה חופשית 120287"/>
          <p:cNvSpPr/>
          <p:nvPr>
            <p:custDataLst>
              <p:tags r:id="rId14"/>
            </p:custDataLst>
          </p:nvPr>
        </p:nvSpPr>
        <p:spPr bwMode="auto">
          <a:xfrm rot="933474">
            <a:off x="6013450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3" name="צורה חופשית 12"/>
          <p:cNvSpPr/>
          <p:nvPr>
            <p:custDataLst>
              <p:tags r:id="rId15"/>
            </p:custDataLst>
          </p:nvPr>
        </p:nvSpPr>
        <p:spPr bwMode="auto">
          <a:xfrm rot="793027">
            <a:off x="519113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32" name="צורה חופשית 231"/>
          <p:cNvSpPr/>
          <p:nvPr>
            <p:custDataLst>
              <p:tags r:id="rId16"/>
            </p:custDataLst>
          </p:nvPr>
        </p:nvSpPr>
        <p:spPr bwMode="auto">
          <a:xfrm rot="793027">
            <a:off x="2632075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41" name="צורה חופשית 240"/>
          <p:cNvSpPr/>
          <p:nvPr>
            <p:custDataLst>
              <p:tags r:id="rId17"/>
            </p:custDataLst>
          </p:nvPr>
        </p:nvSpPr>
        <p:spPr bwMode="auto">
          <a:xfrm rot="793027">
            <a:off x="390048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0" name="צורה חופשית 9"/>
          <p:cNvSpPr/>
          <p:nvPr>
            <p:custDataLst>
              <p:tags r:id="rId18"/>
            </p:custDataLst>
          </p:nvPr>
        </p:nvSpPr>
        <p:spPr bwMode="auto">
          <a:xfrm rot="793027">
            <a:off x="96838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7" name="צורה חופשית 16"/>
          <p:cNvSpPr/>
          <p:nvPr>
            <p:custDataLst>
              <p:tags r:id="rId19"/>
            </p:custDataLst>
          </p:nvPr>
        </p:nvSpPr>
        <p:spPr bwMode="auto">
          <a:xfrm rot="793027">
            <a:off x="941388" y="5365750"/>
            <a:ext cx="354013" cy="152401"/>
          </a:xfrm>
          <a:custGeom>
            <a:avLst/>
            <a:gdLst/>
            <a:ahLst/>
            <a:cxnLst/>
            <a:rect l="0" t="0" r="0" b="0"/>
            <a:pathLst>
              <a:path w="354013" h="152401">
                <a:moveTo>
                  <a:pt x="0" y="95250"/>
                </a:moveTo>
                <a:lnTo>
                  <a:pt x="354012" y="0"/>
                </a:lnTo>
                <a:lnTo>
                  <a:pt x="354012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22" name="צורה חופשית 21"/>
          <p:cNvSpPr/>
          <p:nvPr>
            <p:custDataLst>
              <p:tags r:id="rId20"/>
            </p:custDataLst>
          </p:nvPr>
        </p:nvSpPr>
        <p:spPr bwMode="auto">
          <a:xfrm rot="793027">
            <a:off x="1365250" y="5365750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8" name="צורה חופשית 120297"/>
          <p:cNvSpPr/>
          <p:nvPr>
            <p:custDataLst>
              <p:tags r:id="rId21"/>
            </p:custDataLst>
          </p:nvPr>
        </p:nvSpPr>
        <p:spPr bwMode="auto">
          <a:xfrm rot="933474">
            <a:off x="7280275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 useBgFill="1">
        <p:nvSpPr>
          <p:cNvPr id="120292" name="צורה חופשית 120291"/>
          <p:cNvSpPr/>
          <p:nvPr>
            <p:custDataLst>
              <p:tags r:id="rId22"/>
            </p:custDataLst>
          </p:nvPr>
        </p:nvSpPr>
        <p:spPr bwMode="auto">
          <a:xfrm rot="933474">
            <a:off x="6435725" y="5401572"/>
            <a:ext cx="352426" cy="152401"/>
          </a:xfrm>
          <a:custGeom>
            <a:avLst/>
            <a:gdLst/>
            <a:ahLst/>
            <a:cxnLst/>
            <a:rect l="0" t="0" r="0" b="0"/>
            <a:pathLst>
              <a:path w="352426" h="152401">
                <a:moveTo>
                  <a:pt x="0" y="95250"/>
                </a:moveTo>
                <a:lnTo>
                  <a:pt x="352425" y="0"/>
                </a:lnTo>
                <a:lnTo>
                  <a:pt x="352425" y="57150"/>
                </a:lnTo>
                <a:lnTo>
                  <a:pt x="0" y="152400"/>
                </a:lnTo>
                <a:close/>
              </a:path>
            </a:pathLst>
          </a:custGeom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2" name="צורה חופשית 251"/>
          <p:cNvSpPr/>
          <p:nvPr>
            <p:custDataLst>
              <p:tags r:id="rId23"/>
            </p:custDataLst>
          </p:nvPr>
        </p:nvSpPr>
        <p:spPr bwMode="auto">
          <a:xfrm rot="933474">
            <a:off x="5589588" y="5458722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4" name="צורה חופשית 253"/>
          <p:cNvSpPr/>
          <p:nvPr>
            <p:custDataLst>
              <p:tags r:id="rId24"/>
            </p:custDataLst>
          </p:nvPr>
        </p:nvSpPr>
        <p:spPr bwMode="auto">
          <a:xfrm rot="933474">
            <a:off x="6013450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9" name="צורה חופשית 8"/>
          <p:cNvSpPr/>
          <p:nvPr>
            <p:custDataLst>
              <p:tags r:id="rId25"/>
            </p:custDataLst>
          </p:nvPr>
        </p:nvSpPr>
        <p:spPr bwMode="auto">
          <a:xfrm rot="793027">
            <a:off x="9683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6" name="צורה חופשית 120305"/>
          <p:cNvSpPr/>
          <p:nvPr>
            <p:custDataLst>
              <p:tags r:id="rId26"/>
            </p:custDataLst>
          </p:nvPr>
        </p:nvSpPr>
        <p:spPr bwMode="auto">
          <a:xfrm rot="933474">
            <a:off x="8548688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2" name="צורה חופשית 120301"/>
          <p:cNvSpPr/>
          <p:nvPr>
            <p:custDataLst>
              <p:tags r:id="rId27"/>
            </p:custDataLst>
          </p:nvPr>
        </p:nvSpPr>
        <p:spPr bwMode="auto">
          <a:xfrm rot="933474">
            <a:off x="8126413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9" name="צורה חופשית 120298"/>
          <p:cNvSpPr/>
          <p:nvPr>
            <p:custDataLst>
              <p:tags r:id="rId28"/>
            </p:custDataLst>
          </p:nvPr>
        </p:nvSpPr>
        <p:spPr bwMode="auto">
          <a:xfrm rot="933474">
            <a:off x="7702550" y="5401572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5" name="צורה חופשית 120304"/>
          <p:cNvSpPr/>
          <p:nvPr>
            <p:custDataLst>
              <p:tags r:id="rId29"/>
            </p:custDataLst>
          </p:nvPr>
        </p:nvSpPr>
        <p:spPr bwMode="auto">
          <a:xfrm rot="933474">
            <a:off x="8548688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3" name="צורה חופשית 120302"/>
          <p:cNvSpPr/>
          <p:nvPr>
            <p:custDataLst>
              <p:tags r:id="rId30"/>
            </p:custDataLst>
          </p:nvPr>
        </p:nvSpPr>
        <p:spPr bwMode="auto">
          <a:xfrm rot="933474">
            <a:off x="8126413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300" name="צורה חופשית 120299"/>
          <p:cNvSpPr/>
          <p:nvPr>
            <p:custDataLst>
              <p:tags r:id="rId31"/>
            </p:custDataLst>
          </p:nvPr>
        </p:nvSpPr>
        <p:spPr bwMode="auto">
          <a:xfrm rot="933474">
            <a:off x="7702550" y="5458722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3" name="צורה חופשית 2"/>
          <p:cNvSpPr/>
          <p:nvPr>
            <p:custDataLst>
              <p:tags r:id="rId32"/>
            </p:custDataLst>
          </p:nvPr>
        </p:nvSpPr>
        <p:spPr bwMode="auto">
          <a:xfrm rot="793027">
            <a:off x="9683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1" name="צורה חופשית 120290"/>
          <p:cNvSpPr/>
          <p:nvPr>
            <p:custDataLst>
              <p:tags r:id="rId33"/>
            </p:custDataLst>
          </p:nvPr>
        </p:nvSpPr>
        <p:spPr bwMode="auto">
          <a:xfrm rot="933474">
            <a:off x="6435725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7" name="צורה חופשית 120296"/>
          <p:cNvSpPr/>
          <p:nvPr>
            <p:custDataLst>
              <p:tags r:id="rId34"/>
            </p:custDataLst>
          </p:nvPr>
        </p:nvSpPr>
        <p:spPr bwMode="auto">
          <a:xfrm rot="933474">
            <a:off x="7280275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6" name="צורה חופשית 120295"/>
          <p:cNvSpPr/>
          <p:nvPr>
            <p:custDataLst>
              <p:tags r:id="rId35"/>
            </p:custDataLst>
          </p:nvPr>
        </p:nvSpPr>
        <p:spPr bwMode="auto">
          <a:xfrm rot="933474">
            <a:off x="7280275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3" name="צורה חופשית 120292"/>
          <p:cNvSpPr/>
          <p:nvPr>
            <p:custDataLst>
              <p:tags r:id="rId36"/>
            </p:custDataLst>
          </p:nvPr>
        </p:nvSpPr>
        <p:spPr bwMode="auto">
          <a:xfrm rot="933474">
            <a:off x="6858000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94" name="צורה חופשית 120293"/>
          <p:cNvSpPr/>
          <p:nvPr>
            <p:custDataLst>
              <p:tags r:id="rId37"/>
            </p:custDataLst>
          </p:nvPr>
        </p:nvSpPr>
        <p:spPr bwMode="auto">
          <a:xfrm rot="933474">
            <a:off x="6858000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5" name="צורה חופשית 254"/>
          <p:cNvSpPr/>
          <p:nvPr>
            <p:custDataLst>
              <p:tags r:id="rId38"/>
            </p:custDataLst>
          </p:nvPr>
        </p:nvSpPr>
        <p:spPr bwMode="auto">
          <a:xfrm rot="933474">
            <a:off x="6013450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0289" name="צורה חופשית 120288"/>
          <p:cNvSpPr/>
          <p:nvPr>
            <p:custDataLst>
              <p:tags r:id="rId39"/>
            </p:custDataLst>
          </p:nvPr>
        </p:nvSpPr>
        <p:spPr bwMode="auto">
          <a:xfrm rot="933474">
            <a:off x="6435725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9" name="צורה חופשית 248"/>
          <p:cNvSpPr/>
          <p:nvPr>
            <p:custDataLst>
              <p:tags r:id="rId40"/>
            </p:custDataLst>
          </p:nvPr>
        </p:nvSpPr>
        <p:spPr bwMode="auto">
          <a:xfrm rot="933474">
            <a:off x="5167313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8" name="צורה חופשית 247"/>
          <p:cNvSpPr/>
          <p:nvPr>
            <p:custDataLst>
              <p:tags r:id="rId41"/>
            </p:custDataLst>
          </p:nvPr>
        </p:nvSpPr>
        <p:spPr bwMode="auto">
          <a:xfrm rot="933474">
            <a:off x="5167313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6" name="צורה חופשית 245"/>
          <p:cNvSpPr/>
          <p:nvPr>
            <p:custDataLst>
              <p:tags r:id="rId42"/>
            </p:custDataLst>
          </p:nvPr>
        </p:nvSpPr>
        <p:spPr bwMode="auto">
          <a:xfrm rot="933474">
            <a:off x="4745038" y="545872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5" name="צורה חופשית 244"/>
          <p:cNvSpPr/>
          <p:nvPr>
            <p:custDataLst>
              <p:tags r:id="rId43"/>
            </p:custDataLst>
          </p:nvPr>
        </p:nvSpPr>
        <p:spPr bwMode="auto">
          <a:xfrm rot="933474">
            <a:off x="4745038" y="5401572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3" name="צורה חופשית 242"/>
          <p:cNvSpPr/>
          <p:nvPr>
            <p:custDataLst>
              <p:tags r:id="rId44"/>
            </p:custDataLst>
          </p:nvPr>
        </p:nvSpPr>
        <p:spPr bwMode="auto">
          <a:xfrm rot="793027">
            <a:off x="432276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2" name="צורה חופשית 241"/>
          <p:cNvSpPr/>
          <p:nvPr>
            <p:custDataLst>
              <p:tags r:id="rId45"/>
            </p:custDataLst>
          </p:nvPr>
        </p:nvSpPr>
        <p:spPr bwMode="auto">
          <a:xfrm rot="793027">
            <a:off x="432276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0" name="צורה חופשית 239"/>
          <p:cNvSpPr/>
          <p:nvPr>
            <p:custDataLst>
              <p:tags r:id="rId46"/>
            </p:custDataLst>
          </p:nvPr>
        </p:nvSpPr>
        <p:spPr bwMode="auto">
          <a:xfrm rot="793027">
            <a:off x="3900488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9" name="צורה חופשית 238"/>
          <p:cNvSpPr/>
          <p:nvPr>
            <p:custDataLst>
              <p:tags r:id="rId47"/>
            </p:custDataLst>
          </p:nvPr>
        </p:nvSpPr>
        <p:spPr bwMode="auto">
          <a:xfrm rot="793027">
            <a:off x="3900488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7" name="צורה חופשית 236"/>
          <p:cNvSpPr/>
          <p:nvPr>
            <p:custDataLst>
              <p:tags r:id="rId48"/>
            </p:custDataLst>
          </p:nvPr>
        </p:nvSpPr>
        <p:spPr bwMode="auto">
          <a:xfrm rot="793027">
            <a:off x="34782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6" name="צורה חופשית 235"/>
          <p:cNvSpPr/>
          <p:nvPr>
            <p:custDataLst>
              <p:tags r:id="rId49"/>
            </p:custDataLst>
          </p:nvPr>
        </p:nvSpPr>
        <p:spPr bwMode="auto">
          <a:xfrm rot="793027">
            <a:off x="34782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4" name="צורה חופשית 233"/>
          <p:cNvSpPr/>
          <p:nvPr>
            <p:custDataLst>
              <p:tags r:id="rId50"/>
            </p:custDataLst>
          </p:nvPr>
        </p:nvSpPr>
        <p:spPr bwMode="auto">
          <a:xfrm rot="793027">
            <a:off x="3054350" y="542290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3" name="צורה חופשית 232"/>
          <p:cNvSpPr/>
          <p:nvPr>
            <p:custDataLst>
              <p:tags r:id="rId51"/>
            </p:custDataLst>
          </p:nvPr>
        </p:nvSpPr>
        <p:spPr bwMode="auto">
          <a:xfrm rot="793027">
            <a:off x="3054350" y="5365750"/>
            <a:ext cx="354014" cy="95251"/>
          </a:xfrm>
          <a:custGeom>
            <a:avLst/>
            <a:gdLst/>
            <a:ahLst/>
            <a:cxnLst/>
            <a:rect l="0" t="0" r="0" b="0"/>
            <a:pathLst>
              <a:path w="354014" h="95251">
                <a:moveTo>
                  <a:pt x="0" y="95250"/>
                </a:moveTo>
                <a:lnTo>
                  <a:pt x="354013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1" name="צורה חופשית 230"/>
          <p:cNvSpPr/>
          <p:nvPr>
            <p:custDataLst>
              <p:tags r:id="rId52"/>
            </p:custDataLst>
          </p:nvPr>
        </p:nvSpPr>
        <p:spPr bwMode="auto">
          <a:xfrm rot="793027">
            <a:off x="263207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0" name="צורה חופשית 229"/>
          <p:cNvSpPr/>
          <p:nvPr>
            <p:custDataLst>
              <p:tags r:id="rId53"/>
            </p:custDataLst>
          </p:nvPr>
        </p:nvSpPr>
        <p:spPr bwMode="auto">
          <a:xfrm rot="793027">
            <a:off x="263207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8" name="צורה חופשית 227"/>
          <p:cNvSpPr/>
          <p:nvPr>
            <p:custDataLst>
              <p:tags r:id="rId54"/>
            </p:custDataLst>
          </p:nvPr>
        </p:nvSpPr>
        <p:spPr bwMode="auto">
          <a:xfrm rot="793027">
            <a:off x="220980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7" name="צורה חופשית 226"/>
          <p:cNvSpPr/>
          <p:nvPr>
            <p:custDataLst>
              <p:tags r:id="rId55"/>
            </p:custDataLst>
          </p:nvPr>
        </p:nvSpPr>
        <p:spPr bwMode="auto">
          <a:xfrm rot="793027">
            <a:off x="220980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51" name="צורה חופשית 250"/>
          <p:cNvSpPr/>
          <p:nvPr>
            <p:custDataLst>
              <p:tags r:id="rId56"/>
            </p:custDataLst>
          </p:nvPr>
        </p:nvSpPr>
        <p:spPr bwMode="auto">
          <a:xfrm rot="933474">
            <a:off x="5589588" y="5401572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3" name="צורה חופשית 22"/>
          <p:cNvSpPr/>
          <p:nvPr>
            <p:custDataLst>
              <p:tags r:id="rId57"/>
            </p:custDataLst>
          </p:nvPr>
        </p:nvSpPr>
        <p:spPr bwMode="auto">
          <a:xfrm rot="793027">
            <a:off x="1787525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0" name="צורה חופשית 19"/>
          <p:cNvSpPr/>
          <p:nvPr>
            <p:custDataLst>
              <p:tags r:id="rId58"/>
            </p:custDataLst>
          </p:nvPr>
        </p:nvSpPr>
        <p:spPr bwMode="auto">
          <a:xfrm rot="793027">
            <a:off x="1365250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9" name="צורה חופשית 18"/>
          <p:cNvSpPr/>
          <p:nvPr>
            <p:custDataLst>
              <p:tags r:id="rId59"/>
            </p:custDataLst>
          </p:nvPr>
        </p:nvSpPr>
        <p:spPr bwMode="auto">
          <a:xfrm rot="793027">
            <a:off x="1365250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6" name="צורה חופשית 15"/>
          <p:cNvSpPr/>
          <p:nvPr>
            <p:custDataLst>
              <p:tags r:id="rId60"/>
            </p:custDataLst>
          </p:nvPr>
        </p:nvSpPr>
        <p:spPr bwMode="auto">
          <a:xfrm rot="793027">
            <a:off x="941388" y="542290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4" name="צורה חופשית 13"/>
          <p:cNvSpPr/>
          <p:nvPr>
            <p:custDataLst>
              <p:tags r:id="rId61"/>
            </p:custDataLst>
          </p:nvPr>
        </p:nvSpPr>
        <p:spPr bwMode="auto">
          <a:xfrm rot="793027">
            <a:off x="941388" y="5365750"/>
            <a:ext cx="354013" cy="95251"/>
          </a:xfrm>
          <a:custGeom>
            <a:avLst/>
            <a:gdLst/>
            <a:ahLst/>
            <a:cxnLst/>
            <a:rect l="0" t="0" r="0" b="0"/>
            <a:pathLst>
              <a:path w="354013" h="95251">
                <a:moveTo>
                  <a:pt x="0" y="95250"/>
                </a:moveTo>
                <a:lnTo>
                  <a:pt x="354012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5" name="צורה חופשית 224"/>
          <p:cNvSpPr/>
          <p:nvPr>
            <p:custDataLst>
              <p:tags r:id="rId62"/>
            </p:custDataLst>
          </p:nvPr>
        </p:nvSpPr>
        <p:spPr bwMode="auto">
          <a:xfrm rot="793027">
            <a:off x="1787525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2" name="צורה חופשית 11"/>
          <p:cNvSpPr/>
          <p:nvPr>
            <p:custDataLst>
              <p:tags r:id="rId63"/>
            </p:custDataLst>
          </p:nvPr>
        </p:nvSpPr>
        <p:spPr bwMode="auto">
          <a:xfrm rot="793027">
            <a:off x="519113" y="542290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1" name="צורה חופשית 10"/>
          <p:cNvSpPr/>
          <p:nvPr>
            <p:custDataLst>
              <p:tags r:id="rId64"/>
            </p:custDataLst>
          </p:nvPr>
        </p:nvSpPr>
        <p:spPr bwMode="auto">
          <a:xfrm rot="793027">
            <a:off x="519113" y="5365750"/>
            <a:ext cx="352426" cy="95251"/>
          </a:xfrm>
          <a:custGeom>
            <a:avLst/>
            <a:gdLst/>
            <a:ahLst/>
            <a:cxnLst/>
            <a:rect l="0" t="0" r="0" b="0"/>
            <a:pathLst>
              <a:path w="352426" h="95251">
                <a:moveTo>
                  <a:pt x="0" y="95250"/>
                </a:moveTo>
                <a:lnTo>
                  <a:pt x="352425" y="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2" name="מלבן 61"/>
          <p:cNvSpPr/>
          <p:nvPr>
            <p:custDataLst>
              <p:tags r:id="rId65"/>
            </p:custDataLst>
          </p:nvPr>
        </p:nvSpPr>
        <p:spPr bwMode="auto">
          <a:xfrm>
            <a:off x="729138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3151AEF-6311-4867-9880-D14E3973998F}" type="datetime'''''''''''''''''''2''''''0''''''2''''5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8" name="מלבן 120277"/>
          <p:cNvSpPr/>
          <p:nvPr>
            <p:custDataLst>
              <p:tags r:id="rId66"/>
            </p:custDataLst>
          </p:nvPr>
        </p:nvSpPr>
        <p:spPr bwMode="gray">
          <a:xfrm>
            <a:off x="7332663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F34412-36DD-4D17-90EE-CC84F1AAF50C}" type="datetime'''''''''3''''''''''''.''''3''''''''''''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77" name="מלבן 120276"/>
          <p:cNvSpPr/>
          <p:nvPr>
            <p:custDataLst>
              <p:tags r:id="rId67"/>
            </p:custDataLst>
          </p:nvPr>
        </p:nvSpPr>
        <p:spPr bwMode="gray">
          <a:xfrm>
            <a:off x="690880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EA7A9E-7034-4E1E-A203-92DC69EACD0A}" type="datetime'3''''''.''''''''''''3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61" name="מלבן 60"/>
          <p:cNvSpPr/>
          <p:nvPr>
            <p:custDataLst>
              <p:tags r:id="rId68"/>
            </p:custDataLst>
          </p:nvPr>
        </p:nvSpPr>
        <p:spPr bwMode="auto">
          <a:xfrm>
            <a:off x="68675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2EBDE69-5D0B-4C6A-92A0-53095F9D3520}" type="datetime'''''''''2''0''''''''24''''''''''''''''''''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מלבן 62"/>
          <p:cNvSpPr/>
          <p:nvPr>
            <p:custDataLst>
              <p:tags r:id="rId69"/>
            </p:custDataLst>
          </p:nvPr>
        </p:nvSpPr>
        <p:spPr bwMode="auto">
          <a:xfrm>
            <a:off x="77152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5E94F72-4002-4F9C-9B14-ADB2DE26409F}" type="datetime'''''''''''''''''''''2''''''''''026''''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80" name="מלבן 120279"/>
          <p:cNvSpPr/>
          <p:nvPr>
            <p:custDataLst>
              <p:tags r:id="rId70"/>
            </p:custDataLst>
          </p:nvPr>
        </p:nvSpPr>
        <p:spPr bwMode="gray">
          <a:xfrm>
            <a:off x="8180388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9881092-8321-4BCE-A934-983238D25003}" type="datetime'3.''''''''''''''''''''''''''''''''''''''''''3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79" name="מלבן 120278"/>
          <p:cNvSpPr/>
          <p:nvPr>
            <p:custDataLst>
              <p:tags r:id="rId71"/>
            </p:custDataLst>
          </p:nvPr>
        </p:nvSpPr>
        <p:spPr bwMode="gray">
          <a:xfrm>
            <a:off x="775652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CB2B0EA-F310-4AF2-9D24-92E1092CEC0D}" type="datetime'''''''3''''''''''''''''.''''''''''''''''''''''3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192" name="מלבן 120191"/>
          <p:cNvSpPr/>
          <p:nvPr>
            <p:custDataLst>
              <p:tags r:id="rId72"/>
            </p:custDataLst>
          </p:nvPr>
        </p:nvSpPr>
        <p:spPr bwMode="auto">
          <a:xfrm>
            <a:off x="813911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22E013B-1EF5-4F83-84A5-08C2F3D8A7CF}" type="datetime'''''2''''''''''''''''''''''0''''''''''''''''2''''''7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194" name="מלבן 120193"/>
          <p:cNvSpPr/>
          <p:nvPr>
            <p:custDataLst>
              <p:tags r:id="rId73"/>
            </p:custDataLst>
          </p:nvPr>
        </p:nvSpPr>
        <p:spPr bwMode="auto">
          <a:xfrm>
            <a:off x="85629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45587E-DFAE-431B-8934-D9319624C111}" type="datetime'''''''''''2''0''''2''''''''''8''''''''''''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81" name="מלבן 120280"/>
          <p:cNvSpPr/>
          <p:nvPr>
            <p:custDataLst>
              <p:tags r:id="rId74"/>
            </p:custDataLst>
          </p:nvPr>
        </p:nvSpPr>
        <p:spPr bwMode="gray">
          <a:xfrm>
            <a:off x="860425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3A937DA-5F3F-4CB5-801F-8275B1AC2EC9}" type="datetime'''''''''''''''''''3''''''''''''.''''''''''''''''3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3" name="מלבן 52"/>
          <p:cNvSpPr/>
          <p:nvPr>
            <p:custDataLst>
              <p:tags r:id="rId75"/>
            </p:custDataLst>
          </p:nvPr>
        </p:nvSpPr>
        <p:spPr bwMode="auto">
          <a:xfrm>
            <a:off x="64484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C11E0F-93F0-4869-B460-50F0B515D65E}" type="datetime'''''''202''''''''''''''''''''''''''''''''''''''3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6" name="מלבן 120275"/>
          <p:cNvSpPr/>
          <p:nvPr>
            <p:custDataLst>
              <p:tags r:id="rId76"/>
            </p:custDataLst>
          </p:nvPr>
        </p:nvSpPr>
        <p:spPr bwMode="gray">
          <a:xfrm>
            <a:off x="6489700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D129C4B-C587-4C8C-88A7-2D3F3A40AC42}" type="datetime'''''''''3.''''''''''''''''3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1" name="מלבן 20"/>
          <p:cNvSpPr/>
          <p:nvPr>
            <p:custDataLst>
              <p:tags r:id="rId77"/>
            </p:custDataLst>
          </p:nvPr>
        </p:nvSpPr>
        <p:spPr bwMode="auto">
          <a:xfrm>
            <a:off x="602456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5D6C5D-E191-4A0F-9383-1338170CFB5E}" type="datetime'''''''''20''''''''''''''''''''''''''''''''''''''''2''2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5" name="מלבן 120274"/>
          <p:cNvSpPr/>
          <p:nvPr>
            <p:custDataLst>
              <p:tags r:id="rId78"/>
            </p:custDataLst>
          </p:nvPr>
        </p:nvSpPr>
        <p:spPr bwMode="gray">
          <a:xfrm>
            <a:off x="6065838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A5D96D6-A206-4A46-8DB4-CD239A4650AA}" type="datetime'3''''''''''''.''3''''''''''''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8" name="מלבן 17"/>
          <p:cNvSpPr/>
          <p:nvPr>
            <p:custDataLst>
              <p:tags r:id="rId79"/>
            </p:custDataLst>
          </p:nvPr>
        </p:nvSpPr>
        <p:spPr bwMode="auto">
          <a:xfrm>
            <a:off x="56007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7DEA01D-FCA4-43D1-8238-7DC2D14B3CA6}" type="datetime'''''''''2''0''''''''2''''''''''''''1''''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4" name="מלבן 120273"/>
          <p:cNvSpPr/>
          <p:nvPr>
            <p:custDataLst>
              <p:tags r:id="rId80"/>
            </p:custDataLst>
          </p:nvPr>
        </p:nvSpPr>
        <p:spPr bwMode="gray">
          <a:xfrm>
            <a:off x="564197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B087821-A61C-421A-85A2-DC0774C69CB5}" type="datetime'''''3''''''''''''''''''''''''.3''''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5" name="מלבן 14"/>
          <p:cNvSpPr/>
          <p:nvPr>
            <p:custDataLst>
              <p:tags r:id="rId81"/>
            </p:custDataLst>
          </p:nvPr>
        </p:nvSpPr>
        <p:spPr bwMode="auto">
          <a:xfrm>
            <a:off x="51816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13AB83-B13B-4811-85BC-BC723B899770}" type="datetime'''''''2''''''0''''''2''''''''''''''''0''''''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3" name="מלבן 120272"/>
          <p:cNvSpPr/>
          <p:nvPr>
            <p:custDataLst>
              <p:tags r:id="rId82"/>
            </p:custDataLst>
          </p:nvPr>
        </p:nvSpPr>
        <p:spPr bwMode="gray">
          <a:xfrm>
            <a:off x="5222875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7BA13CC-34C8-4E90-AE47-DA99249A2EED}" type="datetime'''''''''''3''.''''''''''''''''''''''''''''''''3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" name="מלבן 1"/>
          <p:cNvSpPr/>
          <p:nvPr>
            <p:custDataLst>
              <p:tags r:id="rId83"/>
            </p:custDataLst>
          </p:nvPr>
        </p:nvSpPr>
        <p:spPr bwMode="auto">
          <a:xfrm>
            <a:off x="475773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E8C1C7F-E201-4F9F-AB46-C0DE714EC677}" type="datetime'''''''2''''''''0''19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2" name="מלבן 120271"/>
          <p:cNvSpPr/>
          <p:nvPr>
            <p:custDataLst>
              <p:tags r:id="rId84"/>
            </p:custDataLst>
          </p:nvPr>
        </p:nvSpPr>
        <p:spPr bwMode="gray">
          <a:xfrm>
            <a:off x="4799013" y="221138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20D6E2-0E30-4CF7-9B32-9D6E31E704CF}" type="datetime'3''''''''''''''''.''''''''''''''''''3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3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1" name="מלבן 30"/>
          <p:cNvSpPr/>
          <p:nvPr>
            <p:custDataLst>
              <p:tags r:id="rId85"/>
            </p:custDataLst>
          </p:nvPr>
        </p:nvSpPr>
        <p:spPr bwMode="auto">
          <a:xfrm>
            <a:off x="43338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D9FB71-BE28-4BE5-8402-A6E646DB2AE3}" type="datetime'2''''''0''''1''8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1" name="מלבן 120270"/>
          <p:cNvSpPr/>
          <p:nvPr>
            <p:custDataLst>
              <p:tags r:id="rId86"/>
            </p:custDataLst>
          </p:nvPr>
        </p:nvSpPr>
        <p:spPr bwMode="gray">
          <a:xfrm>
            <a:off x="4375150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0684A2-B000-4099-B32E-44DE2A415A82}" type="datetime'''''''''3''''.''''''''1''''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30" name="מלבן 29"/>
          <p:cNvSpPr/>
          <p:nvPr>
            <p:custDataLst>
              <p:tags r:id="rId87"/>
            </p:custDataLst>
          </p:nvPr>
        </p:nvSpPr>
        <p:spPr bwMode="auto">
          <a:xfrm>
            <a:off x="391001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D127AC3-0E55-4823-95FA-6D358D69FA35}" type="datetime'''''''''''''''''''20''''''''''''1''''''''''''''''''''''''''7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70" name="מלבן 120269"/>
          <p:cNvSpPr/>
          <p:nvPr>
            <p:custDataLst>
              <p:tags r:id="rId88"/>
            </p:custDataLst>
          </p:nvPr>
        </p:nvSpPr>
        <p:spPr bwMode="gray">
          <a:xfrm>
            <a:off x="3951288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6BC657F-6F9D-49B9-92CD-D9D1AD8FD56B}" type="datetime'''3''''''''''''''''''''.''''''''''''''''''''''1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9" name="מלבן 28"/>
          <p:cNvSpPr/>
          <p:nvPr>
            <p:custDataLst>
              <p:tags r:id="rId89"/>
            </p:custDataLst>
          </p:nvPr>
        </p:nvSpPr>
        <p:spPr bwMode="auto">
          <a:xfrm>
            <a:off x="34861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566758-4E33-4CC8-9C43-F7AF3A3066C0}" type="datetime'2''''''''''''0''1''''''''''''''''''''''''''''''''''''''6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9" name="מלבן 120268"/>
          <p:cNvSpPr/>
          <p:nvPr>
            <p:custDataLst>
              <p:tags r:id="rId90"/>
            </p:custDataLst>
          </p:nvPr>
        </p:nvSpPr>
        <p:spPr bwMode="gray">
          <a:xfrm>
            <a:off x="3527425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3039641-9C69-4F2E-AE89-C3EC82061FD5}" type="datetime'''''''''''''3''''''''''''''''''''''''''''''''''.1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8" name="מלבן 27"/>
          <p:cNvSpPr/>
          <p:nvPr>
            <p:custDataLst>
              <p:tags r:id="rId91"/>
            </p:custDataLst>
          </p:nvPr>
        </p:nvSpPr>
        <p:spPr bwMode="auto">
          <a:xfrm>
            <a:off x="306705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7BBCD48-3164-40E9-81AB-95197684B044}" type="datetime'''''''''''''''2''0''''''''''''1''''5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8" name="מלבן 120267"/>
          <p:cNvSpPr/>
          <p:nvPr>
            <p:custDataLst>
              <p:tags r:id="rId92"/>
            </p:custDataLst>
          </p:nvPr>
        </p:nvSpPr>
        <p:spPr bwMode="gray">
          <a:xfrm>
            <a:off x="3108325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BF4E7D-71E9-4991-A417-AFF714EE9A43}" type="datetime'''''''''''''''3''''''''''''''''.''1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7" name="מלבן 26"/>
          <p:cNvSpPr/>
          <p:nvPr>
            <p:custDataLst>
              <p:tags r:id="rId93"/>
            </p:custDataLst>
          </p:nvPr>
        </p:nvSpPr>
        <p:spPr bwMode="auto">
          <a:xfrm>
            <a:off x="264318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CC784E9-4721-4519-A72A-C59A6E6AF796}" type="datetime'''''''''''''2''''''''''''''''0''''1''''''''4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7" name="מלבן 120266"/>
          <p:cNvSpPr/>
          <p:nvPr>
            <p:custDataLst>
              <p:tags r:id="rId94"/>
            </p:custDataLst>
          </p:nvPr>
        </p:nvSpPr>
        <p:spPr bwMode="gray">
          <a:xfrm>
            <a:off x="2684463" y="268763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78DF7EB-7EE0-4C3F-BB6D-DF85BD77A2DD}" type="datetime'3''''''''''.''''1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6" name="מלבן 25"/>
          <p:cNvSpPr/>
          <p:nvPr>
            <p:custDataLst>
              <p:tags r:id="rId95"/>
            </p:custDataLst>
          </p:nvPr>
        </p:nvSpPr>
        <p:spPr bwMode="auto">
          <a:xfrm>
            <a:off x="22193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D07F6F0-C174-4B52-83CF-D1E7D1F93B98}" type="datetime'''''''''''''''''2''''''''''''''0''''''''1''3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6" name="מלבן 120265"/>
          <p:cNvSpPr/>
          <p:nvPr>
            <p:custDataLst>
              <p:tags r:id="rId96"/>
            </p:custDataLst>
          </p:nvPr>
        </p:nvSpPr>
        <p:spPr bwMode="gray">
          <a:xfrm>
            <a:off x="2260600" y="2886397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F126549-4257-488D-A930-91B80D99144A}" type="datetime'''''''''2''''''''''''.''''''''''''''''''''''''''''''9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9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25" name="מלבן 24"/>
          <p:cNvSpPr/>
          <p:nvPr>
            <p:custDataLst>
              <p:tags r:id="rId97"/>
            </p:custDataLst>
          </p:nvPr>
        </p:nvSpPr>
        <p:spPr bwMode="auto">
          <a:xfrm>
            <a:off x="180022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F577B6-5B43-48BA-A95C-56B80226123F}" type="datetime'''''''''''''''''''2''''''0''''''''1''''''''''''''''''''2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5" name="מלבן 120264"/>
          <p:cNvSpPr/>
          <p:nvPr>
            <p:custDataLst>
              <p:tags r:id="rId98"/>
            </p:custDataLst>
          </p:nvPr>
        </p:nvSpPr>
        <p:spPr bwMode="gray">
          <a:xfrm>
            <a:off x="1841500" y="2708920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B225F53-F0E0-4EF8-8271-FB41CB924669}" type="datetime'''''''''''''''''''''''''''''''''''''''''''''''''3''.1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1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8" name="מלבן 7"/>
          <p:cNvSpPr/>
          <p:nvPr>
            <p:custDataLst>
              <p:tags r:id="rId99"/>
            </p:custDataLst>
          </p:nvPr>
        </p:nvSpPr>
        <p:spPr bwMode="auto">
          <a:xfrm>
            <a:off x="1376363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D9018F-1AE2-4D2B-9FE8-6E0D77F65B50}" type="datetime'2''''''01''''''''''''''''''''''''''''''''''''''1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4" name="מלבן 120263"/>
          <p:cNvSpPr/>
          <p:nvPr>
            <p:custDataLst>
              <p:tags r:id="rId100"/>
            </p:custDataLst>
          </p:nvPr>
        </p:nvSpPr>
        <p:spPr bwMode="gray">
          <a:xfrm>
            <a:off x="1417638" y="2780928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AFFB370-2784-4B44-8302-F76130050A64}" type="datetime'''''''''''''''''3''''''''''.0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.0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7" name="מלבן 6"/>
          <p:cNvSpPr/>
          <p:nvPr>
            <p:custDataLst>
              <p:tags r:id="rId101"/>
            </p:custDataLst>
          </p:nvPr>
        </p:nvSpPr>
        <p:spPr bwMode="auto">
          <a:xfrm>
            <a:off x="952500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15A180-7870-4D55-A26F-397776E49FDD}" type="datetime'''''''''''''''''''2''''0''''''''''10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3" name="מלבן 120262"/>
          <p:cNvSpPr/>
          <p:nvPr>
            <p:custDataLst>
              <p:tags r:id="rId102"/>
            </p:custDataLst>
          </p:nvPr>
        </p:nvSpPr>
        <p:spPr bwMode="gray">
          <a:xfrm>
            <a:off x="993775" y="2958405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59E5A4F-7AE3-48A2-BFAE-17447ED84850}" type="datetime'''''2''''''''''''''''.''''''''''''''''''''''''''8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8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" name="מלבן 4"/>
          <p:cNvSpPr/>
          <p:nvPr>
            <p:custDataLst>
              <p:tags r:id="rId103"/>
            </p:custDataLst>
          </p:nvPr>
        </p:nvSpPr>
        <p:spPr bwMode="auto">
          <a:xfrm>
            <a:off x="528638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C19CFE1-31BF-464C-8976-73FC398C9DFF}" type="datetime'''2''''0''''''''''''''''''''''09''''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0262" name="מלבן 120261"/>
          <p:cNvSpPr/>
          <p:nvPr>
            <p:custDataLst>
              <p:tags r:id="rId104"/>
            </p:custDataLst>
          </p:nvPr>
        </p:nvSpPr>
        <p:spPr bwMode="gray">
          <a:xfrm>
            <a:off x="569913" y="3102421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A56CBE4-46B4-4A63-B387-D4A758572592}" type="datetime'''''''''''2''''''''''''''''''.''''''''''6''''''''''''''''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6</a:t>
            </a:fld>
            <a:endParaRPr lang="he-IL" sz="1200" b="1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120200" name="מלבן 120199"/>
          <p:cNvSpPr/>
          <p:nvPr>
            <p:custDataLst>
              <p:tags r:id="rId105"/>
            </p:custDataLst>
          </p:nvPr>
        </p:nvSpPr>
        <p:spPr bwMode="auto">
          <a:xfrm>
            <a:off x="104775" y="6365875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8125DD-7C8C-412D-B8F3-8D10B7C044E9}" type="datetime'''2''''''''''''''0''''0''''''''''''''''''''''''''''''''8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8</a:t>
            </a:fld>
            <a:endParaRPr lang="he-IL" sz="12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0261" name="מלבן 120260"/>
          <p:cNvSpPr/>
          <p:nvPr>
            <p:custDataLst>
              <p:tags r:id="rId106"/>
            </p:custDataLst>
          </p:nvPr>
        </p:nvSpPr>
        <p:spPr bwMode="gray">
          <a:xfrm>
            <a:off x="146050" y="3284984"/>
            <a:ext cx="241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2225" tIns="0" rIns="22225" bIns="0" rtlCol="1" anchor="b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0B0718B-923A-4FB3-AA01-04618523D6B6}" type="datetime'''''''''''''''''''''''''''''''''''''''2''''''.''4'''''">
              <a:rPr lang="en-US" sz="1200" b="1">
                <a:solidFill>
                  <a:schemeClr val="tx1"/>
                </a:solidFill>
                <a:cs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.4</a:t>
            </a:fld>
            <a:endParaRPr lang="he-IL" sz="1200" b="1" dirty="0">
              <a:solidFill>
                <a:schemeClr val="tx1"/>
              </a:solidFill>
              <a:latin typeface="Calibri"/>
              <a:cs typeface="Arial"/>
              <a:sym typeface="Calibri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-28724" y="0"/>
            <a:ext cx="9172724" cy="95410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/>
            <a:r>
              <a:rPr lang="en-US" sz="2800" dirty="0" smtClean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ssistance grant 2008-2028 (excluding BMD)</a:t>
            </a:r>
          </a:p>
          <a:p>
            <a:pPr algn="ctr"/>
            <a:r>
              <a:rPr lang="en-US" sz="2800" dirty="0" smtClean="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Millions of dollars in aid</a:t>
            </a:r>
            <a:endParaRPr lang="he-IL" sz="2800" dirty="0">
              <a:ln>
                <a:solidFill>
                  <a:sysClr val="windowText" lastClr="000000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0" name="מחבר חץ ישר 59"/>
          <p:cNvCxnSpPr/>
          <p:nvPr/>
        </p:nvCxnSpPr>
        <p:spPr>
          <a:xfrm>
            <a:off x="36513" y="6276975"/>
            <a:ext cx="9000000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319" name="מחבר ישר 120318"/>
          <p:cNvCxnSpPr/>
          <p:nvPr/>
        </p:nvCxnSpPr>
        <p:spPr>
          <a:xfrm flipH="1">
            <a:off x="4743450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4" name="מחבר ישר 223"/>
          <p:cNvCxnSpPr/>
          <p:nvPr/>
        </p:nvCxnSpPr>
        <p:spPr>
          <a:xfrm flipH="1">
            <a:off x="482600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מחבר ישר 117"/>
          <p:cNvCxnSpPr/>
          <p:nvPr/>
        </p:nvCxnSpPr>
        <p:spPr>
          <a:xfrm flipH="1">
            <a:off x="8982075" y="1873250"/>
            <a:ext cx="0" cy="4932000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290" name="מחבר חץ ישר 120289"/>
          <p:cNvCxnSpPr/>
          <p:nvPr/>
        </p:nvCxnSpPr>
        <p:spPr>
          <a:xfrm>
            <a:off x="544513" y="1954213"/>
            <a:ext cx="4140000" cy="0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מלבן 121"/>
          <p:cNvSpPr/>
          <p:nvPr/>
        </p:nvSpPr>
        <p:spPr>
          <a:xfrm>
            <a:off x="482600" y="1301279"/>
            <a:ext cx="4275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 2009-2018</a:t>
            </a:r>
            <a:endParaRPr lang="he-IL" b="1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en-US" sz="16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Total $ 30 billion, 3 billion average per year</a:t>
            </a:r>
            <a:endParaRPr lang="he-IL" sz="16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123" name="מחבר חץ ישר 122"/>
          <p:cNvCxnSpPr/>
          <p:nvPr/>
        </p:nvCxnSpPr>
        <p:spPr>
          <a:xfrm>
            <a:off x="4800600" y="1954213"/>
            <a:ext cx="4140000" cy="0"/>
          </a:xfrm>
          <a:prstGeom prst="straightConnector1">
            <a:avLst/>
          </a:prstGeom>
          <a:ln w="38100"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8" name="מלבן 187"/>
          <p:cNvSpPr/>
          <p:nvPr/>
        </p:nvSpPr>
        <p:spPr>
          <a:xfrm>
            <a:off x="4720431" y="1310804"/>
            <a:ext cx="427513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OU 2019-2028</a:t>
            </a:r>
            <a:endParaRPr lang="he-IL" b="1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en-US" sz="16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Total $ 33 billion, 3.3 billion average per year</a:t>
            </a:r>
            <a:endParaRPr lang="he-IL" sz="16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89" name="מלבן 188"/>
          <p:cNvSpPr/>
          <p:nvPr/>
        </p:nvSpPr>
        <p:spPr>
          <a:xfrm>
            <a:off x="10938805" y="-1790244"/>
            <a:ext cx="914400" cy="914400"/>
          </a:xfrm>
          <a:prstGeom prst="rect">
            <a:avLst/>
          </a:prstGeom>
          <a:solidFill>
            <a:srgbClr val="63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0" name="מלבן 189"/>
          <p:cNvSpPr/>
          <p:nvPr/>
        </p:nvSpPr>
        <p:spPr>
          <a:xfrm>
            <a:off x="10938805" y="-639306"/>
            <a:ext cx="914400" cy="914400"/>
          </a:xfrm>
          <a:prstGeom prst="rect">
            <a:avLst/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1" name="מלבן 190"/>
          <p:cNvSpPr/>
          <p:nvPr/>
        </p:nvSpPr>
        <p:spPr>
          <a:xfrm>
            <a:off x="10938805" y="557669"/>
            <a:ext cx="914400" cy="914400"/>
          </a:xfrm>
          <a:prstGeom prst="rect">
            <a:avLst/>
          </a:prstGeom>
          <a:solidFill>
            <a:srgbClr val="5A7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2" name="מלבן 191"/>
          <p:cNvSpPr/>
          <p:nvPr/>
        </p:nvSpPr>
        <p:spPr>
          <a:xfrm>
            <a:off x="12204848" y="-1790244"/>
            <a:ext cx="914400" cy="914400"/>
          </a:xfrm>
          <a:prstGeom prst="rect">
            <a:avLst/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3" name="מלבן 192"/>
          <p:cNvSpPr/>
          <p:nvPr/>
        </p:nvSpPr>
        <p:spPr>
          <a:xfrm>
            <a:off x="12204848" y="-639306"/>
            <a:ext cx="914400" cy="914400"/>
          </a:xfrm>
          <a:prstGeom prst="rect">
            <a:avLst/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4" name="מלבן 193"/>
          <p:cNvSpPr/>
          <p:nvPr/>
        </p:nvSpPr>
        <p:spPr>
          <a:xfrm>
            <a:off x="12204848" y="557669"/>
            <a:ext cx="914400" cy="914400"/>
          </a:xfrm>
          <a:prstGeom prst="rect">
            <a:avLst/>
          </a:prstGeom>
          <a:solidFill>
            <a:srgbClr val="B399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sp>
        <p:nvSpPr>
          <p:cNvPr id="195" name="מלבן 194"/>
          <p:cNvSpPr/>
          <p:nvPr/>
        </p:nvSpPr>
        <p:spPr>
          <a:xfrm>
            <a:off x="12204848" y="1665744"/>
            <a:ext cx="914400" cy="914400"/>
          </a:xfrm>
          <a:prstGeom prst="rect">
            <a:avLst/>
          </a:prstGeom>
          <a:solidFill>
            <a:srgbClr val="EDE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/>
          </a:p>
        </p:txBody>
      </p:sp>
      <p:graphicFrame>
        <p:nvGraphicFramePr>
          <p:cNvPr id="4" name="תרשים 3"/>
          <p:cNvGraphicFramePr/>
          <p:nvPr>
            <p:extLst/>
          </p:nvPr>
        </p:nvGraphicFramePr>
        <p:xfrm>
          <a:off x="4611784" y="2086779"/>
          <a:ext cx="4478875" cy="35116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8"/>
          </a:graphicData>
        </a:graphic>
      </p:graphicFrame>
      <p:graphicFrame>
        <p:nvGraphicFramePr>
          <p:cNvPr id="24" name="תרשים 23"/>
          <p:cNvGraphicFramePr/>
          <p:nvPr>
            <p:extLst/>
          </p:nvPr>
        </p:nvGraphicFramePr>
        <p:xfrm>
          <a:off x="-57057" y="2411200"/>
          <a:ext cx="4886140" cy="3148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9"/>
          </a:graphicData>
        </a:graphic>
      </p:graphicFrame>
    </p:spTree>
    <p:extLst>
      <p:ext uri="{BB962C8B-B14F-4D97-AF65-F5344CB8AC3E}">
        <p14:creationId xmlns="" xmlns:p14="http://schemas.microsoft.com/office/powerpoint/2010/main" val="365271791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 hidden="1"/>
          <p:cNvSpPr/>
          <p:nvPr>
            <p:custDataLst>
              <p:tags r:id="rId1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1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e-IL" sz="1200" b="1">
              <a:latin typeface="Calibri"/>
              <a:sym typeface="Calibri"/>
            </a:endParaRPr>
          </a:p>
        </p:txBody>
      </p:sp>
      <p:sp>
        <p:nvSpPr>
          <p:cNvPr id="33" name="מלבן 32"/>
          <p:cNvSpPr/>
          <p:nvPr/>
        </p:nvSpPr>
        <p:spPr>
          <a:xfrm>
            <a:off x="4645023" y="6432787"/>
            <a:ext cx="4356000" cy="216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5" name="TextBox 14"/>
          <p:cNvSpPr txBox="1"/>
          <p:nvPr/>
        </p:nvSpPr>
        <p:spPr>
          <a:xfrm>
            <a:off x="-28724" y="0"/>
            <a:ext cx="917272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200" dirty="0" smtClean="0"/>
              <a:t> Exchanges</a:t>
            </a:r>
            <a:r>
              <a:rPr lang="he-IL" sz="3200" dirty="0" smtClean="0"/>
              <a:t>(</a:t>
            </a:r>
            <a:r>
              <a:rPr lang="en-US" sz="3200" dirty="0"/>
              <a:t>Off Shore Procurement</a:t>
            </a:r>
            <a:r>
              <a:rPr lang="he-IL" sz="3200" dirty="0"/>
              <a:t>)</a:t>
            </a:r>
          </a:p>
        </p:txBody>
      </p:sp>
      <p:sp>
        <p:nvSpPr>
          <p:cNvPr id="44" name="מלבן 43"/>
          <p:cNvSpPr/>
          <p:nvPr>
            <p:custDataLst>
              <p:tags r:id="rId2"/>
            </p:custDataLst>
          </p:nvPr>
        </p:nvSpPr>
        <p:spPr bwMode="auto">
          <a:xfrm>
            <a:off x="42195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B6E035D-E2B2-4D80-A300-863591ED3259}" type="datetime'''''''20''''''''''''''''''''''''1''''''''''''''8''''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0" name="מלבן 49"/>
          <p:cNvSpPr/>
          <p:nvPr>
            <p:custDataLst>
              <p:tags r:id="rId3"/>
            </p:custDataLst>
          </p:nvPr>
        </p:nvSpPr>
        <p:spPr bwMode="auto">
          <a:xfrm>
            <a:off x="37814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4224EE9-6D1B-4E7E-BBFD-7A6371732CFF}" type="datetime'''''2''''''''''''''''''''''''''0''''''1''7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6" name="מלבן 45"/>
          <p:cNvSpPr/>
          <p:nvPr>
            <p:custDataLst>
              <p:tags r:id="rId4"/>
            </p:custDataLst>
          </p:nvPr>
        </p:nvSpPr>
        <p:spPr bwMode="auto">
          <a:xfrm>
            <a:off x="3338513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7FD2014-FE53-4C93-B1DB-CB04322B54A6}" type="datetime'20''''''''''''''''''''''''''''''''''''''''''''16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5" name="מלבן 44"/>
          <p:cNvSpPr/>
          <p:nvPr>
            <p:custDataLst>
              <p:tags r:id="rId5"/>
            </p:custDataLst>
          </p:nvPr>
        </p:nvSpPr>
        <p:spPr bwMode="auto">
          <a:xfrm>
            <a:off x="28956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1014BA7-0134-4FB4-BC84-B00BDC0961AC}" type="datetime'2''''0''''''''''''1''''''''5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3" name="מלבן 42"/>
          <p:cNvSpPr/>
          <p:nvPr>
            <p:custDataLst>
              <p:tags r:id="rId6"/>
            </p:custDataLst>
          </p:nvPr>
        </p:nvSpPr>
        <p:spPr bwMode="auto">
          <a:xfrm>
            <a:off x="24574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C1CC7E2-C27B-4C4C-A1B4-B7212BDC71B3}" type="datetime'''''''''2''''''''''''''''''''''''014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2" name="מלבן 41"/>
          <p:cNvSpPr/>
          <p:nvPr>
            <p:custDataLst>
              <p:tags r:id="rId7"/>
            </p:custDataLst>
          </p:nvPr>
        </p:nvSpPr>
        <p:spPr bwMode="auto">
          <a:xfrm>
            <a:off x="20193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A5831DA-3765-4D76-B753-5456B31ED23B}" type="datetime'''''''''''''''''''''''20''''''''''''1''''''3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מלבן 40"/>
          <p:cNvSpPr/>
          <p:nvPr>
            <p:custDataLst>
              <p:tags r:id="rId8"/>
            </p:custDataLst>
          </p:nvPr>
        </p:nvSpPr>
        <p:spPr bwMode="auto">
          <a:xfrm>
            <a:off x="15811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97D1406-C0BD-4429-BE78-90B2B9E5E7D8}" type="datetime'''''''''''2''''''''''0''''''''1''2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9" name="מלבן 18"/>
          <p:cNvSpPr/>
          <p:nvPr>
            <p:custDataLst>
              <p:tags r:id="rId9"/>
            </p:custDataLst>
          </p:nvPr>
        </p:nvSpPr>
        <p:spPr bwMode="auto">
          <a:xfrm>
            <a:off x="1138238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EB20D77-4205-4301-8016-3C2A93D2CA9A}" type="datetime'''''''2''''''''''''''''''''''0''''''''''''''1''1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מלבן 17"/>
          <p:cNvSpPr/>
          <p:nvPr>
            <p:custDataLst>
              <p:tags r:id="rId10"/>
            </p:custDataLst>
          </p:nvPr>
        </p:nvSpPr>
        <p:spPr bwMode="auto">
          <a:xfrm>
            <a:off x="6953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F399EA9-02B9-4AE6-B0F2-B63152BFCDCF}" type="datetime'''''''''''''2''''''''''0''''''''''''''''''1''0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0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7" name="מלבן 16"/>
          <p:cNvSpPr/>
          <p:nvPr>
            <p:custDataLst>
              <p:tags r:id="rId11"/>
            </p:custDataLst>
          </p:nvPr>
        </p:nvSpPr>
        <p:spPr bwMode="auto">
          <a:xfrm>
            <a:off x="2571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03BEB93-84B5-4CF4-B056-7CCD30D97476}" type="datetime'''2''''''0''''''''''''''''''''''''''''0''''9'''''''">
              <a:rPr lang="en-US" sz="1200" b="1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09</a:t>
            </a:fld>
            <a:endParaRPr lang="he-IL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" name="מלבן 9"/>
          <p:cNvSpPr/>
          <p:nvPr>
            <p:custDataLst>
              <p:tags r:id="rId12"/>
            </p:custDataLst>
          </p:nvPr>
        </p:nvSpPr>
        <p:spPr bwMode="auto">
          <a:xfrm>
            <a:off x="72961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9998CDC-0AE3-40FD-A85F-C3C9EC08C7CD}" type="datetime'2''''''''''''''''''''''''''0''''2''5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5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8" name="מלבן 7"/>
          <p:cNvSpPr/>
          <p:nvPr>
            <p:custDataLst>
              <p:tags r:id="rId13"/>
            </p:custDataLst>
          </p:nvPr>
        </p:nvSpPr>
        <p:spPr bwMode="auto">
          <a:xfrm>
            <a:off x="641985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70CCF84-7598-4DFB-98F1-7E10C9BDD4C1}" type="datetime'''202''''''''''''''''''''''''''''''''''''3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3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" name="מלבן 5"/>
          <p:cNvSpPr/>
          <p:nvPr>
            <p:custDataLst>
              <p:tags r:id="rId14"/>
            </p:custDataLst>
          </p:nvPr>
        </p:nvSpPr>
        <p:spPr bwMode="auto">
          <a:xfrm>
            <a:off x="5538788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209D6A3-9EED-4147-8FE6-65780897BB89}" type="datetime'''2''''''0''''''''''''''2''''''''1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1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" name="מלבן 1"/>
          <p:cNvSpPr/>
          <p:nvPr>
            <p:custDataLst>
              <p:tags r:id="rId15"/>
            </p:custDataLst>
          </p:nvPr>
        </p:nvSpPr>
        <p:spPr bwMode="auto">
          <a:xfrm>
            <a:off x="46577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EA57DAD-7FFD-4B9A-812A-1B9B1E74A2E4}" type="datetime'''''''''''''2''''''''''''''''''''''''''''''''''0''1''9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19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" name="מלבן 2"/>
          <p:cNvSpPr/>
          <p:nvPr>
            <p:custDataLst>
              <p:tags r:id="rId16"/>
            </p:custDataLst>
          </p:nvPr>
        </p:nvSpPr>
        <p:spPr bwMode="auto">
          <a:xfrm>
            <a:off x="50958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4803D33-310D-47F6-982C-0970FF08DB67}" type="datetime'''''''''''2''''''''''''''''0''''''''2''''''''''''''0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0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9" name="מלבן 8"/>
          <p:cNvSpPr/>
          <p:nvPr>
            <p:custDataLst>
              <p:tags r:id="rId17"/>
            </p:custDataLst>
          </p:nvPr>
        </p:nvSpPr>
        <p:spPr bwMode="auto">
          <a:xfrm>
            <a:off x="68580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75A52A3-F8AF-4CF6-82CF-44431104A984}" type="datetime'''''''''2''0''''''''''''''24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4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" name="מלבן 10"/>
          <p:cNvSpPr/>
          <p:nvPr>
            <p:custDataLst>
              <p:tags r:id="rId18"/>
            </p:custDataLst>
          </p:nvPr>
        </p:nvSpPr>
        <p:spPr bwMode="auto">
          <a:xfrm>
            <a:off x="7739063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75BFF9F-0E45-46D5-9FBB-0AE38C532499}" type="datetime'''''''''''''2''02''''''''''''''6''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6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7" name="מלבן 6"/>
          <p:cNvSpPr/>
          <p:nvPr>
            <p:custDataLst>
              <p:tags r:id="rId19"/>
            </p:custDataLst>
          </p:nvPr>
        </p:nvSpPr>
        <p:spPr bwMode="auto">
          <a:xfrm>
            <a:off x="5981700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D8C149-37D8-4C60-8BCA-1E3CC14B8F4A}" type="datetime'''''''''''''''''''''''''''''''2''02''2''''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2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מלבן 11"/>
          <p:cNvSpPr/>
          <p:nvPr>
            <p:custDataLst>
              <p:tags r:id="rId20"/>
            </p:custDataLst>
          </p:nvPr>
        </p:nvSpPr>
        <p:spPr bwMode="auto">
          <a:xfrm>
            <a:off x="818197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9ED40F7-A61B-4BAF-B80B-411F2184E4FD}" type="datetime'''''2''''0''''''''''''''''''''''27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7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" name="מלבן 12"/>
          <p:cNvSpPr/>
          <p:nvPr>
            <p:custDataLst>
              <p:tags r:id="rId21"/>
            </p:custDataLst>
          </p:nvPr>
        </p:nvSpPr>
        <p:spPr bwMode="auto">
          <a:xfrm>
            <a:off x="8620125" y="6394450"/>
            <a:ext cx="3238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1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B2492E9-4A70-4889-8EE7-CECDBB901CD2}" type="datetime'''''''''''20''''''''''''2''''''''''''''''8'''''''''''''''''">
              <a:rPr lang="en-US" sz="1200" b="1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028</a:t>
            </a:fld>
            <a:endParaRPr lang="he-IL" sz="1200" b="1">
              <a:solidFill>
                <a:schemeClr val="tx1"/>
              </a:solidFill>
              <a:latin typeface="Calibri"/>
              <a:sym typeface="Calibri"/>
            </a:endParaRPr>
          </a:p>
        </p:txBody>
      </p:sp>
      <p:cxnSp>
        <p:nvCxnSpPr>
          <p:cNvPr id="55" name="מחבר חץ ישר 54"/>
          <p:cNvCxnSpPr/>
          <p:nvPr/>
        </p:nvCxnSpPr>
        <p:spPr>
          <a:xfrm>
            <a:off x="107504" y="6296025"/>
            <a:ext cx="8928992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4" descr="http://4vector.com/i/free-vector-independence-day-usa-icon_101869_Independence_Day_USA_Icon.png"/>
          <p:cNvPicPr>
            <a:picLocks noChangeAspect="1" noChangeArrowheads="1"/>
          </p:cNvPicPr>
          <p:nvPr/>
        </p:nvPicPr>
        <p:blipFill>
          <a:blip r:embed="rId23" cstate="print"/>
          <a:stretch>
            <a:fillRect/>
          </a:stretch>
        </p:blipFill>
        <p:spPr bwMode="auto">
          <a:xfrm>
            <a:off x="8109989" y="733499"/>
            <a:ext cx="926507" cy="926507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28" name="מלבן 27"/>
          <p:cNvSpPr/>
          <p:nvPr/>
        </p:nvSpPr>
        <p:spPr>
          <a:xfrm>
            <a:off x="4574440" y="627366"/>
            <a:ext cx="358344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en-US" sz="20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As of 1984, a share of the aid money can be converted into shekels for defense procurement in Israel</a:t>
            </a:r>
            <a:endParaRPr lang="he-IL" sz="20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237006" y="688921"/>
            <a:ext cx="315151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en-US" sz="20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In the framework of the new MOU, it was decided to implement a descending outline until a total cancellation in 2028</a:t>
            </a:r>
            <a:endParaRPr lang="he-IL" sz="20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5" name="מחבר ישר 4"/>
          <p:cNvCxnSpPr/>
          <p:nvPr/>
        </p:nvCxnSpPr>
        <p:spPr>
          <a:xfrm flipH="1">
            <a:off x="4609324" y="548680"/>
            <a:ext cx="0" cy="129614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5" descr="http://files.softicons.com/download/business-icons/finance-icons-by-visualpharm/png/256/coins.png"/>
          <p:cNvPicPr>
            <a:picLocks noChangeAspect="1" noChangeArrowheads="1"/>
          </p:cNvPicPr>
          <p:nvPr/>
        </p:nvPicPr>
        <p:blipFill>
          <a:blip r:embed="rId24" cstate="print"/>
          <a:stretch>
            <a:fillRect/>
          </a:stretch>
        </p:blipFill>
        <p:spPr bwMode="auto">
          <a:xfrm>
            <a:off x="3413742" y="799513"/>
            <a:ext cx="794479" cy="794479"/>
          </a:xfrm>
          <a:prstGeom prst="rect">
            <a:avLst/>
          </a:prstGeom>
          <a:noFill/>
          <a:ln w="9525">
            <a:noFill/>
            <a:miter lim="800000"/>
          </a:ln>
        </p:spPr>
      </p:pic>
      <p:cxnSp>
        <p:nvCxnSpPr>
          <p:cNvPr id="40" name="מחבר חץ ישר 39"/>
          <p:cNvCxnSpPr/>
          <p:nvPr/>
        </p:nvCxnSpPr>
        <p:spPr>
          <a:xfrm>
            <a:off x="247486" y="2736913"/>
            <a:ext cx="4338809" cy="0"/>
          </a:xfrm>
          <a:prstGeom prst="straightConnector1">
            <a:avLst/>
          </a:prstGeom>
          <a:ln w="38100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מלבן 46"/>
          <p:cNvSpPr/>
          <p:nvPr/>
        </p:nvSpPr>
        <p:spPr>
          <a:xfrm>
            <a:off x="531160" y="2327472"/>
            <a:ext cx="358344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US" sz="20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6.3% of the Total Grant</a:t>
            </a:r>
            <a:endParaRPr lang="he-IL" sz="20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cxnSp>
        <p:nvCxnSpPr>
          <p:cNvPr id="48" name="מחבר ישר 47"/>
          <p:cNvCxnSpPr/>
          <p:nvPr/>
        </p:nvCxnSpPr>
        <p:spPr>
          <a:xfrm flipH="1">
            <a:off x="4616015" y="2527527"/>
            <a:ext cx="0" cy="4277723"/>
          </a:xfrm>
          <a:prstGeom prst="line">
            <a:avLst/>
          </a:prstGeom>
          <a:ln w="19050">
            <a:solidFill>
              <a:schemeClr val="tx1">
                <a:lumMod val="75000"/>
                <a:lumOff val="2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מחבר חץ ישר 48"/>
          <p:cNvCxnSpPr/>
          <p:nvPr/>
        </p:nvCxnSpPr>
        <p:spPr>
          <a:xfrm>
            <a:off x="4738695" y="2743067"/>
            <a:ext cx="4043355" cy="397901"/>
          </a:xfrm>
          <a:prstGeom prst="straightConnector1">
            <a:avLst/>
          </a:prstGeom>
          <a:ln w="38100">
            <a:solidFill>
              <a:srgbClr val="C00000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מלבן 50"/>
          <p:cNvSpPr/>
          <p:nvPr/>
        </p:nvSpPr>
        <p:spPr>
          <a:xfrm rot="354771">
            <a:off x="4637457" y="2544841"/>
            <a:ext cx="45205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n-US" sz="2000" dirty="0" smtClean="0">
                <a:ln>
                  <a:solidFill>
                    <a:srgbClr val="C00000"/>
                  </a:solidFill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Decreasing exchanges framework</a:t>
            </a:r>
            <a:endParaRPr lang="he-IL" sz="200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aphicFrame>
        <p:nvGraphicFramePr>
          <p:cNvPr id="14" name="תרשים 13"/>
          <p:cNvGraphicFramePr/>
          <p:nvPr>
            <p:extLst/>
          </p:nvPr>
        </p:nvGraphicFramePr>
        <p:xfrm>
          <a:off x="107504" y="2636912"/>
          <a:ext cx="9036495" cy="37958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</p:spTree>
    <p:extLst>
      <p:ext uri="{BB962C8B-B14F-4D97-AF65-F5344CB8AC3E}">
        <p14:creationId xmlns="" xmlns:p14="http://schemas.microsoft.com/office/powerpoint/2010/main" val="12438181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4000" dirty="0" smtClean="0">
                <a:solidFill>
                  <a:prstClr val="black"/>
                </a:solidFill>
              </a:rPr>
              <a:t>The Israeli Perspective</a:t>
            </a:r>
            <a:endParaRPr lang="he-IL" sz="4000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636454"/>
            <a:ext cx="8712968" cy="83099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1">
            <a:spAutoFit/>
          </a:bodyPr>
          <a:lstStyle/>
          <a:p>
            <a:pPr algn="ctr" rtl="0"/>
            <a:r>
              <a:rPr lang="en-US" sz="2400" b="1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OU in View of the Ministry of Finance - Decline in the Exchanges Pattern</a:t>
            </a:r>
            <a:endParaRPr lang="he-IL" b="1" dirty="0">
              <a:ln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6" name="מחבר ישר 5"/>
          <p:cNvCxnSpPr/>
          <p:nvPr/>
        </p:nvCxnSpPr>
        <p:spPr>
          <a:xfrm flipH="1">
            <a:off x="6843556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H="1">
            <a:off x="2284140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47"/>
          <p:cNvCxnSpPr/>
          <p:nvPr/>
        </p:nvCxnSpPr>
        <p:spPr>
          <a:xfrm flipH="1">
            <a:off x="4563848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6843556" y="2416820"/>
            <a:ext cx="230044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4000" b="1">
                <a:solidFill>
                  <a:prstClr val="black"/>
                </a:solidFill>
                <a:latin typeface="Lucida Handwriting" panose="03010101010101010101" pitchFamily="66" charset="0"/>
              </a:rPr>
              <a:t>1,200</a:t>
            </a:r>
            <a:endParaRPr lang="he-IL" sz="4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04048" y="2200796"/>
            <a:ext cx="1368152" cy="108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987824" y="2210912"/>
            <a:ext cx="886921" cy="106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65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7544" y="2132018"/>
            <a:ext cx="1180123" cy="1081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6843556" y="3496940"/>
            <a:ext cx="2316163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dirty="0" smtClean="0">
                <a:solidFill>
                  <a:prstClr val="black"/>
                </a:solidFill>
              </a:rPr>
              <a:t>The damage to the periphery is about 1,200 employees</a:t>
            </a:r>
            <a:endParaRPr lang="he-IL" sz="2400" dirty="0">
              <a:solidFill>
                <a:prstClr val="black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563847" y="3496940"/>
            <a:ext cx="2279709" cy="304698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dirty="0" smtClean="0">
                <a:solidFill>
                  <a:prstClr val="black"/>
                </a:solidFill>
              </a:rPr>
              <a:t>The increase in the defense budget will compensate for the drop in the exchanges</a:t>
            </a:r>
            <a:endParaRPr lang="he-IL" sz="2400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84139" y="3496940"/>
            <a:ext cx="2273499" cy="230832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dirty="0" smtClean="0">
                <a:solidFill>
                  <a:prstClr val="black"/>
                </a:solidFill>
              </a:rPr>
              <a:t>The purchasing flexibility of the Ministry of Defense is </a:t>
            </a:r>
            <a:r>
              <a:rPr lang="en-US" sz="2400" u="sng" dirty="0" smtClean="0">
                <a:solidFill>
                  <a:prstClr val="black"/>
                </a:solidFill>
              </a:rPr>
              <a:t>not unitary</a:t>
            </a:r>
            <a:endParaRPr lang="he-IL" sz="2400" u="sng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-36511" y="3496940"/>
            <a:ext cx="2320650" cy="273921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dirty="0" smtClean="0">
                <a:solidFill>
                  <a:prstClr val="black"/>
                </a:solidFill>
              </a:rPr>
              <a:t>There is no risk of harm to </a:t>
            </a:r>
            <a:r>
              <a:rPr lang="en-US" sz="2400" dirty="0" smtClean="0"/>
              <a:t>research and development</a:t>
            </a:r>
          </a:p>
          <a:p>
            <a:r>
              <a:rPr lang="en-US" sz="2400" dirty="0" smtClean="0"/>
              <a:t/>
            </a:r>
            <a:br>
              <a:rPr lang="en-US" sz="2400" dirty="0" smtClean="0"/>
            </a:br>
            <a:endParaRPr lang="he-IL" sz="2400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1479855" y="4066326"/>
            <a:ext cx="839365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b="1">
                <a:solidFill>
                  <a:prstClr val="black"/>
                </a:solidFill>
                <a:latin typeface="Lucida Handwriting" panose="03010101010101010101" pitchFamily="66" charset="0"/>
              </a:rPr>
              <a:t>1:1</a:t>
            </a:r>
            <a:endParaRPr lang="he-IL" sz="2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grpSp>
        <p:nvGrpSpPr>
          <p:cNvPr id="2" name="קבוצה 10"/>
          <p:cNvGrpSpPr/>
          <p:nvPr/>
        </p:nvGrpSpPr>
        <p:grpSpPr>
          <a:xfrm>
            <a:off x="3431284" y="2111991"/>
            <a:ext cx="1152128" cy="400110"/>
            <a:chOff x="11772800" y="1711881"/>
            <a:chExt cx="1152128" cy="400110"/>
          </a:xfrm>
        </p:grpSpPr>
        <p:sp>
          <p:nvSpPr>
            <p:cNvPr id="18" name="TextBox 17"/>
            <p:cNvSpPr txBox="1"/>
            <p:nvPr/>
          </p:nvSpPr>
          <p:spPr>
            <a:xfrm>
              <a:off x="11772800" y="1711881"/>
              <a:ext cx="1152128" cy="400110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>
              <a:defPPr>
                <a:defRPr lang="he-IL"/>
              </a:defPPr>
              <a:lvl1pPr algn="ctr">
                <a:defRPr sz="2800">
                  <a:ln>
                    <a:solidFill>
                      <a:sysClr val="windowText" lastClr="000000"/>
                    </a:solidFill>
                  </a:ln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Lucida Sans Unicode" panose="020B0602030504020204" pitchFamily="34" charset="0"/>
                  <a:cs typeface="Lucida Sans Unicode" panose="020B0602030504020204" pitchFamily="34" charset="0"/>
                </a:defRPr>
              </a:lvl1pPr>
            </a:lstStyle>
            <a:p>
              <a:r>
                <a:rPr lang="en-US" sz="2000" b="1">
                  <a:solidFill>
                    <a:prstClr val="black"/>
                  </a:solidFill>
                  <a:latin typeface="Lucida Handwriting" panose="03010101010101010101" pitchFamily="66" charset="0"/>
                </a:rPr>
                <a:t>1   1</a:t>
              </a:r>
              <a:endParaRPr lang="he-IL" sz="2000" b="1">
                <a:solidFill>
                  <a:prstClr val="black"/>
                </a:solidFill>
                <a:latin typeface="Lucida Handwriting" panose="03010101010101010101" pitchFamily="66" charset="0"/>
              </a:endParaRPr>
            </a:p>
          </p:txBody>
        </p:sp>
        <p:sp>
          <p:nvSpPr>
            <p:cNvPr id="10" name="לא שווה 9"/>
            <p:cNvSpPr/>
            <p:nvPr/>
          </p:nvSpPr>
          <p:spPr>
            <a:xfrm>
              <a:off x="12186864" y="1821936"/>
              <a:ext cx="324000" cy="180000"/>
            </a:xfrm>
            <a:prstGeom prst="mathNotEqual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55224156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4000" dirty="0" smtClean="0">
                <a:solidFill>
                  <a:prstClr val="black"/>
                </a:solidFill>
              </a:rPr>
              <a:t>But...</a:t>
            </a:r>
            <a:endParaRPr lang="he-IL" sz="4000" dirty="0">
              <a:solidFill>
                <a:prstClr val="black"/>
              </a:solidFill>
            </a:endParaRPr>
          </a:p>
        </p:txBody>
      </p:sp>
      <p:cxnSp>
        <p:nvCxnSpPr>
          <p:cNvPr id="6" name="מחבר ישר 5"/>
          <p:cNvCxnSpPr/>
          <p:nvPr/>
        </p:nvCxnSpPr>
        <p:spPr>
          <a:xfrm flipH="1">
            <a:off x="7019364" y="1988840"/>
            <a:ext cx="0" cy="349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6"/>
          <p:cNvCxnSpPr/>
          <p:nvPr/>
        </p:nvCxnSpPr>
        <p:spPr>
          <a:xfrm flipH="1">
            <a:off x="-899756" y="1425149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47"/>
          <p:cNvCxnSpPr/>
          <p:nvPr/>
        </p:nvCxnSpPr>
        <p:spPr>
          <a:xfrm flipH="1">
            <a:off x="5183614" y="1988840"/>
            <a:ext cx="0" cy="3492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7096092" y="2628201"/>
            <a:ext cx="2300444" cy="58477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200" b="1" dirty="0">
                <a:solidFill>
                  <a:prstClr val="black"/>
                </a:solidFill>
                <a:latin typeface="Lucida Handwriting" panose="03010101010101010101" pitchFamily="66" charset="0"/>
              </a:rPr>
              <a:t>1,200</a:t>
            </a:r>
            <a:endParaRPr lang="he-IL" sz="3200" b="1" dirty="0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948263" y="3804136"/>
            <a:ext cx="2195737" cy="178510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200" dirty="0" smtClean="0">
                <a:solidFill>
                  <a:prstClr val="black"/>
                </a:solidFill>
              </a:rPr>
              <a:t>The Finance Ministry's assessment </a:t>
            </a:r>
            <a:r>
              <a:rPr lang="en-US" sz="2200" u="sng" dirty="0" smtClean="0">
                <a:solidFill>
                  <a:prstClr val="black"/>
                </a:solidFill>
              </a:rPr>
              <a:t>is only a lower barrier</a:t>
            </a:r>
            <a:endParaRPr lang="he-IL" sz="2200" u="sng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83614" y="3789040"/>
            <a:ext cx="1835806" cy="144655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200" dirty="0" smtClean="0">
                <a:solidFill>
                  <a:prstClr val="black"/>
                </a:solidFill>
              </a:rPr>
              <a:t>Budget hole expected already in 2020</a:t>
            </a:r>
            <a:endParaRPr lang="he-IL" sz="2200" dirty="0">
              <a:solidFill>
                <a:prstClr val="black"/>
              </a:solidFill>
            </a:endParaRP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35044" y="2426936"/>
            <a:ext cx="886921" cy="1067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4078504" y="2328015"/>
            <a:ext cx="1152128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b="1">
                <a:solidFill>
                  <a:prstClr val="black"/>
                </a:solidFill>
                <a:latin typeface="Lucida Handwriting" panose="03010101010101010101" pitchFamily="66" charset="0"/>
              </a:rPr>
              <a:t>1:1</a:t>
            </a:r>
            <a:endParaRPr lang="he-IL" sz="2000" b="1">
              <a:solidFill>
                <a:prstClr val="black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131840" y="3789040"/>
            <a:ext cx="2051774" cy="218521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200" dirty="0" smtClean="0"/>
              <a:t>The budget is intended to aid procurement</a:t>
            </a:r>
          </a:p>
          <a:p>
            <a:r>
              <a:rPr lang="en-US" sz="2400" dirty="0" smtClean="0"/>
              <a:t/>
            </a:r>
            <a:br>
              <a:rPr lang="en-US" sz="2400" dirty="0" smtClean="0"/>
            </a:br>
            <a:endParaRPr lang="he-IL" sz="2400" dirty="0">
              <a:solidFill>
                <a:prstClr val="black"/>
              </a:solidFill>
            </a:endParaRPr>
          </a:p>
        </p:txBody>
      </p:sp>
      <p:cxnSp>
        <p:nvCxnSpPr>
          <p:cNvPr id="21" name="מחבר ישר 20"/>
          <p:cNvCxnSpPr/>
          <p:nvPr/>
        </p:nvCxnSpPr>
        <p:spPr>
          <a:xfrm flipH="1">
            <a:off x="-2735506" y="1425149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196752" y="1916832"/>
            <a:ext cx="1285875" cy="1238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-2736358" y="3225349"/>
            <a:ext cx="1835750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 dirty="0">
                <a:solidFill>
                  <a:prstClr val="black"/>
                </a:solidFill>
              </a:rPr>
              <a:t>העברת קווי ייצור לחו"ל – התייקרות, לו"ז ופגיעה בעצמאות</a:t>
            </a: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4129179" y="1929205"/>
            <a:ext cx="897533" cy="8509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25"/>
          <p:cNvSpPr txBox="1"/>
          <p:nvPr/>
        </p:nvSpPr>
        <p:spPr>
          <a:xfrm rot="20017101">
            <a:off x="-4597775" y="1981710"/>
            <a:ext cx="1835750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</a:rPr>
              <a:t>לא נלקח בחשבון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-4536504" y="3225349"/>
            <a:ext cx="1835750" cy="267765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 sz="2400">
                <a:solidFill>
                  <a:prstClr val="black"/>
                </a:solidFill>
              </a:rPr>
              <a:t>התרומה הביטחונית בעצמאות הייצורית והטכנולוגית וזמינות בחרום</a:t>
            </a: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450839" y="2374314"/>
            <a:ext cx="1368152" cy="1088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אליפסה 11"/>
          <p:cNvSpPr/>
          <p:nvPr/>
        </p:nvSpPr>
        <p:spPr>
          <a:xfrm>
            <a:off x="5507252" y="2924944"/>
            <a:ext cx="1296144" cy="1296000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isometricOffAxis2To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92696"/>
            <a:ext cx="4106139" cy="15101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מלבן 21"/>
          <p:cNvSpPr/>
          <p:nvPr/>
        </p:nvSpPr>
        <p:spPr>
          <a:xfrm>
            <a:off x="-28724" y="6021288"/>
            <a:ext cx="9178565" cy="8367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11240" y="5517232"/>
            <a:ext cx="9132760" cy="1340768"/>
          </a:xfrm>
          <a:prstGeom prst="rect">
            <a:avLst/>
          </a:prstGeom>
          <a:solidFill>
            <a:schemeClr val="accent2">
              <a:lumMod val="75000"/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l" rtl="0"/>
            <a:endParaRPr lang="en-US" sz="2200" dirty="0" smtClean="0"/>
          </a:p>
          <a:p>
            <a:pPr algn="l" rtl="0"/>
            <a:endParaRPr lang="en-US" sz="2200" dirty="0" smtClean="0"/>
          </a:p>
          <a:p>
            <a:pPr marL="457200" indent="-457200" algn="l" rtl="0">
              <a:buAutoNum type="arabicPeriod"/>
            </a:pPr>
            <a:r>
              <a:rPr lang="en-US" sz="2200" dirty="0" smtClean="0"/>
              <a:t>Moving production lines abroad – more expensive and a </a:t>
            </a:r>
          </a:p>
          <a:p>
            <a:pPr marL="457200" indent="-457200" algn="l" rtl="0"/>
            <a:r>
              <a:rPr lang="en-US" sz="2200" dirty="0" smtClean="0"/>
              <a:t>	longer schedule</a:t>
            </a:r>
          </a:p>
          <a:p>
            <a:pPr marL="457200" indent="-457200" algn="l" rtl="0">
              <a:buAutoNum type="arabicPeriod" startAt="2"/>
            </a:pPr>
            <a:r>
              <a:rPr lang="en-US" sz="2200" dirty="0" smtClean="0"/>
              <a:t>The security contribution to technology empowerment </a:t>
            </a:r>
          </a:p>
          <a:p>
            <a:pPr marL="457200" indent="-457200" algn="l" rtl="0"/>
            <a:r>
              <a:rPr lang="en-US" sz="2200" dirty="0" smtClean="0"/>
              <a:t>       and routine conduct</a:t>
            </a:r>
          </a:p>
          <a:p>
            <a:r>
              <a:rPr lang="en-US" sz="2200" dirty="0" smtClean="0"/>
              <a:t/>
            </a:r>
            <a:br>
              <a:rPr lang="en-US" sz="2200" dirty="0" smtClean="0"/>
            </a:br>
            <a:endParaRPr lang="he-IL" sz="22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3" name="חץ למטה 32"/>
          <p:cNvSpPr/>
          <p:nvPr/>
        </p:nvSpPr>
        <p:spPr>
          <a:xfrm rot="10800000">
            <a:off x="7199566" y="2593357"/>
            <a:ext cx="396770" cy="51625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rgbClr val="FF0000"/>
                </a:solidFill>
              </a:ln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 rot="20783454">
            <a:off x="7506119" y="3045091"/>
            <a:ext cx="230044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b="1" dirty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latin typeface="Lucida Handwriting" panose="03010101010101010101" pitchFamily="66" charset="0"/>
              </a:rPr>
              <a:t>min</a:t>
            </a:r>
            <a:endParaRPr lang="he-IL" sz="2400" b="1" dirty="0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Lucida Handwriting" panose="03010101010101010101" pitchFamily="66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0017101">
            <a:off x="7373189" y="5763171"/>
            <a:ext cx="1827821" cy="169277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18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/>
              </a:rPr>
              <a:t>Not taken into account</a:t>
            </a:r>
          </a:p>
          <a:p>
            <a:r>
              <a:rPr lang="en-US" sz="3200" dirty="0" smtClean="0">
                <a:solidFill>
                  <a:srgbClr val="FF0000"/>
                </a:solidFill>
                <a:effectLst/>
              </a:rPr>
              <a:t/>
            </a:r>
            <a:br>
              <a:rPr lang="en-US" sz="3200" dirty="0" smtClean="0">
                <a:solidFill>
                  <a:srgbClr val="FF0000"/>
                </a:solidFill>
                <a:effectLst/>
              </a:rPr>
            </a:br>
            <a:endParaRPr lang="he-IL" sz="3200" dirty="0">
              <a:ln>
                <a:solidFill>
                  <a:srgbClr val="FF0000"/>
                </a:solidFill>
              </a:ln>
              <a:solidFill>
                <a:srgbClr val="FF0000"/>
              </a:solidFill>
              <a:effectLst/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3347864" y="1340768"/>
            <a:ext cx="864096" cy="7920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sz="900" dirty="0" smtClean="0">
                <a:solidFill>
                  <a:prstClr val="black"/>
                </a:solidFill>
              </a:rPr>
              <a:t>The damage to the periphery is 1,200 employees</a:t>
            </a:r>
            <a:endParaRPr lang="he-IL" sz="900" dirty="0">
              <a:solidFill>
                <a:prstClr val="black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2267744" y="1412776"/>
            <a:ext cx="976784" cy="72759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sz="900" dirty="0" smtClean="0">
                <a:solidFill>
                  <a:prstClr val="black"/>
                </a:solidFill>
              </a:rPr>
              <a:t>The increase in the defense budget will compensate for the drop in the conversions</a:t>
            </a:r>
            <a:endParaRPr lang="he-IL" sz="900" dirty="0">
              <a:solidFill>
                <a:prstClr val="black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251520" y="1340768"/>
            <a:ext cx="864096" cy="6436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sz="900" dirty="0" smtClean="0">
                <a:solidFill>
                  <a:schemeClr val="tx1"/>
                </a:solidFill>
              </a:rPr>
              <a:t>There is no risk of harm to Research and Development</a:t>
            </a:r>
          </a:p>
        </p:txBody>
      </p:sp>
      <p:sp>
        <p:nvSpPr>
          <p:cNvPr id="35" name="מלבן 34"/>
          <p:cNvSpPr/>
          <p:nvPr/>
        </p:nvSpPr>
        <p:spPr>
          <a:xfrm>
            <a:off x="1331640" y="1484784"/>
            <a:ext cx="878826" cy="5982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n-US" sz="900" dirty="0" smtClean="0">
                <a:solidFill>
                  <a:prstClr val="black"/>
                </a:solidFill>
              </a:rPr>
              <a:t>The purchasing flexibility of the Ministry of Defense is not unitary</a:t>
            </a:r>
            <a:endParaRPr lang="he-IL" sz="900" u="sng" dirty="0">
              <a:solidFill>
                <a:prstClr val="black"/>
              </a:solidFill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4211960" y="1772816"/>
            <a:ext cx="45719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57119742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8724" y="0"/>
            <a:ext cx="917272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4000" dirty="0" smtClean="0">
                <a:solidFill>
                  <a:prstClr val="black"/>
                </a:solidFill>
              </a:rPr>
              <a:t>The American Perspective</a:t>
            </a:r>
            <a:endParaRPr lang="he-IL" sz="4000" dirty="0">
              <a:solidFill>
                <a:prstClr val="black"/>
              </a:solidFill>
            </a:endParaRPr>
          </a:p>
        </p:txBody>
      </p:sp>
      <p:cxnSp>
        <p:nvCxnSpPr>
          <p:cNvPr id="5" name="מחבר ישר 4"/>
          <p:cNvCxnSpPr/>
          <p:nvPr/>
        </p:nvCxnSpPr>
        <p:spPr>
          <a:xfrm flipH="1">
            <a:off x="6083830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מחבר ישר 47"/>
          <p:cNvCxnSpPr/>
          <p:nvPr/>
        </p:nvCxnSpPr>
        <p:spPr>
          <a:xfrm flipH="1">
            <a:off x="3023659" y="1772816"/>
            <a:ext cx="0" cy="4248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22829" y="1455327"/>
            <a:ext cx="1469617" cy="1469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32240" y="1609827"/>
            <a:ext cx="1711389" cy="1079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4211" y1="61780" x2="61579" y2="84293"/>
                        <a14:foregroundMark x1="85789" y1="54974" x2="69474" y2="71204"/>
                        <a14:foregroundMark x1="2632" y1="35079" x2="2632" y2="35079"/>
                        <a14:foregroundMark x1="9474" y1="36126" x2="526" y2="3664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7584" y="1515547"/>
            <a:ext cx="1342113" cy="13491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083830" y="3218200"/>
            <a:ext cx="3060170" cy="304698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dirty="0" smtClean="0">
                <a:solidFill>
                  <a:prstClr val="black"/>
                </a:solidFill>
              </a:rPr>
              <a:t>MOU as </a:t>
            </a:r>
            <a:r>
              <a:rPr lang="en-US" sz="2400" u="sng" dirty="0" smtClean="0">
                <a:solidFill>
                  <a:prstClr val="black"/>
                </a:solidFill>
              </a:rPr>
              <a:t>a growth engine for the American economy </a:t>
            </a:r>
            <a:r>
              <a:rPr lang="en-US" sz="2400" dirty="0" smtClean="0">
                <a:solidFill>
                  <a:prstClr val="black"/>
                </a:solidFill>
              </a:rPr>
              <a:t>- places of employment + working hands for the American citizen</a:t>
            </a:r>
            <a:endParaRPr lang="he-IL" sz="2400" dirty="0">
              <a:solidFill>
                <a:prstClr val="black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023659" y="3218200"/>
            <a:ext cx="3060171" cy="34163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dirty="0" smtClean="0">
                <a:solidFill>
                  <a:prstClr val="black"/>
                </a:solidFill>
              </a:rPr>
              <a:t>Maintaining Israel's qualitative military advantage by acquiring </a:t>
            </a:r>
            <a:r>
              <a:rPr lang="en-US" sz="2400" u="sng" dirty="0" smtClean="0">
                <a:solidFill>
                  <a:prstClr val="black"/>
                </a:solidFill>
              </a:rPr>
              <a:t>platforms and acquiring capabilities </a:t>
            </a:r>
            <a:r>
              <a:rPr lang="en-US" sz="2400" dirty="0" smtClean="0">
                <a:solidFill>
                  <a:prstClr val="black"/>
                </a:solidFill>
              </a:rPr>
              <a:t>rather than purchasing raw materials</a:t>
            </a:r>
            <a:endParaRPr lang="he-IL" sz="2400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-28724" y="3218200"/>
            <a:ext cx="3052383" cy="267765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800">
                <a:ln>
                  <a:solidFill>
                    <a:sysClr val="windowText" lastClr="000000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dirty="0" smtClean="0">
                <a:solidFill>
                  <a:prstClr val="black"/>
                </a:solidFill>
              </a:rPr>
              <a:t>Situation report- already in the first year of the MOU, </a:t>
            </a:r>
            <a:r>
              <a:rPr lang="en-US" sz="2400" u="sng" dirty="0" smtClean="0">
                <a:solidFill>
                  <a:prstClr val="black"/>
                </a:solidFill>
              </a:rPr>
              <a:t>more than half of the aid budget has been linked </a:t>
            </a:r>
            <a:r>
              <a:rPr lang="en-US" sz="2400" dirty="0" smtClean="0">
                <a:solidFill>
                  <a:prstClr val="black"/>
                </a:solidFill>
              </a:rPr>
              <a:t>- low decision space</a:t>
            </a:r>
            <a:endParaRPr lang="he-IL" sz="2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830587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44624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0">
              <a:defRPr/>
            </a:pPr>
            <a:r>
              <a:rPr lang="en-US" sz="4400" b="0" u="none" dirty="0" smtClean="0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Challenges</a:t>
            </a:r>
            <a:endParaRPr lang="he-IL" sz="4400" b="0" u="none" dirty="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424731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en-US" sz="5400" b="1" dirty="0" smtClean="0">
                <a:ln w="28575">
                  <a:solidFill>
                    <a:schemeClr val="tx1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To bring the budget that will provide the best response to the security needs and </a:t>
            </a:r>
            <a:r>
              <a:rPr lang="en-US" sz="5400" b="1" dirty="0" smtClean="0">
                <a:ln w="28575">
                  <a:solidFill>
                    <a:schemeClr val="tx1"/>
                  </a:solidFill>
                </a:ln>
                <a:solidFill>
                  <a:schemeClr val="accent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o ensure the best use of it</a:t>
            </a:r>
            <a:endParaRPr lang="he-IL" sz="5400" b="1" dirty="0">
              <a:ln w="28575">
                <a:solidFill>
                  <a:srgbClr val="0070C0"/>
                </a:solidFill>
              </a:ln>
              <a:solidFill>
                <a:schemeClr val="accent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851920" y="5085184"/>
            <a:ext cx="1602845" cy="1602845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="" xmlns:p14="http://schemas.microsoft.com/office/powerpoint/2010/main" val="3041975590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98863" y="10742597"/>
            <a:ext cx="215900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5" name="קשת מלאה 134"/>
          <p:cNvSpPr>
            <a:spLocks noChangeAspect="1"/>
          </p:cNvSpPr>
          <p:nvPr/>
        </p:nvSpPr>
        <p:spPr>
          <a:xfrm rot="15351165">
            <a:off x="1553758" y="7556319"/>
            <a:ext cx="5616575" cy="5616575"/>
          </a:xfrm>
          <a:prstGeom prst="blockArc">
            <a:avLst>
              <a:gd name="adj1" fmla="val 18678445"/>
              <a:gd name="adj2" fmla="val 20303227"/>
              <a:gd name="adj3" fmla="val 21764"/>
            </a:avLst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6" name="קשת מלאה 135"/>
          <p:cNvSpPr>
            <a:spLocks noChangeAspect="1"/>
          </p:cNvSpPr>
          <p:nvPr/>
        </p:nvSpPr>
        <p:spPr>
          <a:xfrm rot="2932187">
            <a:off x="1550988" y="7539022"/>
            <a:ext cx="5616575" cy="5616575"/>
          </a:xfrm>
          <a:prstGeom prst="blockArc">
            <a:avLst>
              <a:gd name="adj1" fmla="val 16737853"/>
              <a:gd name="adj2" fmla="val 20284547"/>
              <a:gd name="adj3" fmla="val 21804"/>
            </a:avLst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7" name="קשת מלאה 136"/>
          <p:cNvSpPr>
            <a:spLocks noChangeAspect="1"/>
          </p:cNvSpPr>
          <p:nvPr/>
        </p:nvSpPr>
        <p:spPr>
          <a:xfrm rot="12457588">
            <a:off x="1558926" y="7545372"/>
            <a:ext cx="5616575" cy="5616575"/>
          </a:xfrm>
          <a:prstGeom prst="blockArc">
            <a:avLst>
              <a:gd name="adj1" fmla="val 19233282"/>
              <a:gd name="adj2" fmla="val 20319926"/>
              <a:gd name="adj3" fmla="val 21919"/>
            </a:avLst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8" name="קשת מלאה 137"/>
          <p:cNvSpPr>
            <a:spLocks noChangeAspect="1"/>
          </p:cNvSpPr>
          <p:nvPr/>
        </p:nvSpPr>
        <p:spPr>
          <a:xfrm rot="13681548">
            <a:off x="1550988" y="7539022"/>
            <a:ext cx="5616575" cy="5616575"/>
          </a:xfrm>
          <a:prstGeom prst="blockArc">
            <a:avLst>
              <a:gd name="adj1" fmla="val 19120307"/>
              <a:gd name="adj2" fmla="val 20299964"/>
              <a:gd name="adj3" fmla="val 22045"/>
            </a:avLst>
          </a:prstGeom>
          <a:solidFill>
            <a:srgbClr val="E65B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39" name="קשת מלאה 138"/>
          <p:cNvSpPr>
            <a:spLocks noChangeAspect="1"/>
          </p:cNvSpPr>
          <p:nvPr/>
        </p:nvSpPr>
        <p:spPr>
          <a:xfrm rot="20931824">
            <a:off x="1550988" y="7539022"/>
            <a:ext cx="5616575" cy="5616575"/>
          </a:xfrm>
          <a:prstGeom prst="blockArc">
            <a:avLst>
              <a:gd name="adj1" fmla="val 16818616"/>
              <a:gd name="adj2" fmla="val 20308752"/>
              <a:gd name="adj3" fmla="val 21666"/>
            </a:avLst>
          </a:prstGeom>
          <a:solidFill>
            <a:srgbClr val="1058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0" name="קשת מלאה 139"/>
          <p:cNvSpPr>
            <a:spLocks noChangeAspect="1"/>
          </p:cNvSpPr>
          <p:nvPr/>
        </p:nvSpPr>
        <p:spPr>
          <a:xfrm rot="9763424">
            <a:off x="1550988" y="7539022"/>
            <a:ext cx="5616575" cy="5616575"/>
          </a:xfrm>
          <a:prstGeom prst="blockArc">
            <a:avLst>
              <a:gd name="adj1" fmla="val 18694688"/>
              <a:gd name="adj2" fmla="val 20295657"/>
              <a:gd name="adj3" fmla="val 22021"/>
            </a:avLst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1" name="קשת מלאה 140"/>
          <p:cNvSpPr>
            <a:spLocks noChangeAspect="1"/>
          </p:cNvSpPr>
          <p:nvPr/>
        </p:nvSpPr>
        <p:spPr>
          <a:xfrm rot="11348479">
            <a:off x="1550988" y="7539022"/>
            <a:ext cx="5616575" cy="5616575"/>
          </a:xfrm>
          <a:prstGeom prst="blockArc">
            <a:avLst>
              <a:gd name="adj1" fmla="val 18743197"/>
              <a:gd name="adj2" fmla="val 20302271"/>
              <a:gd name="adj3" fmla="val 22082"/>
            </a:avLst>
          </a:prstGeom>
          <a:solidFill>
            <a:srgbClr val="63A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2" name="קשת מלאה 141"/>
          <p:cNvSpPr>
            <a:spLocks noChangeAspect="1"/>
          </p:cNvSpPr>
          <p:nvPr/>
        </p:nvSpPr>
        <p:spPr>
          <a:xfrm rot="17414169">
            <a:off x="1550988" y="7539022"/>
            <a:ext cx="5616575" cy="5616575"/>
          </a:xfrm>
          <a:prstGeom prst="blockArc">
            <a:avLst>
              <a:gd name="adj1" fmla="val 18247920"/>
              <a:gd name="adj2" fmla="val 20295936"/>
              <a:gd name="adj3" fmla="val 21789"/>
            </a:avLst>
          </a:prstGeom>
          <a:solidFill>
            <a:srgbClr val="F091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3" name="קשת מלאה 142"/>
          <p:cNvSpPr>
            <a:spLocks noChangeAspect="1"/>
          </p:cNvSpPr>
          <p:nvPr/>
        </p:nvSpPr>
        <p:spPr>
          <a:xfrm rot="8094843">
            <a:off x="1541463" y="7551722"/>
            <a:ext cx="5616575" cy="5616575"/>
          </a:xfrm>
          <a:prstGeom prst="blockArc">
            <a:avLst>
              <a:gd name="adj1" fmla="val 15152279"/>
              <a:gd name="adj2" fmla="val 20312766"/>
              <a:gd name="adj3" fmla="val 22009"/>
            </a:avLst>
          </a:prstGeom>
          <a:solidFill>
            <a:srgbClr val="5A7E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endParaRPr lang="he-IL">
              <a:solidFill>
                <a:schemeClr val="tx1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-27913" y="-25643"/>
            <a:ext cx="9144000" cy="64633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360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המערך הכלכלי – מצבת כ"א</a:t>
            </a:r>
          </a:p>
        </p:txBody>
      </p:sp>
      <p:sp>
        <p:nvSpPr>
          <p:cNvPr id="145" name="מלבן 144"/>
          <p:cNvSpPr/>
          <p:nvPr/>
        </p:nvSpPr>
        <p:spPr>
          <a:xfrm>
            <a:off x="4947051" y="8084941"/>
            <a:ext cx="104202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כ"א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7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6" name="מלבן 145"/>
          <p:cNvSpPr/>
          <p:nvPr/>
        </p:nvSpPr>
        <p:spPr>
          <a:xfrm>
            <a:off x="5942881" y="9807287"/>
            <a:ext cx="122413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יועכ"ל</a:t>
            </a:r>
            <a:endParaRPr lang="he-IL" sz="2800" b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5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7" name="מלבן 146"/>
          <p:cNvSpPr/>
          <p:nvPr/>
        </p:nvSpPr>
        <p:spPr>
          <a:xfrm>
            <a:off x="3813973" y="12049782"/>
            <a:ext cx="2266156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8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זרוע היבשה 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6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22%)</a:t>
            </a:r>
            <a:endParaRPr lang="he-IL" sz="16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8" name="מלבן 147"/>
          <p:cNvSpPr/>
          <p:nvPr/>
        </p:nvSpPr>
        <p:spPr>
          <a:xfrm>
            <a:off x="2482231" y="11776602"/>
            <a:ext cx="1042020" cy="67710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מ"ן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49" name="מלבן 148"/>
          <p:cNvSpPr/>
          <p:nvPr/>
        </p:nvSpPr>
        <p:spPr>
          <a:xfrm>
            <a:off x="1581892" y="10921152"/>
            <a:ext cx="1453673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פיקודים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5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0" name="מלבן 149"/>
          <p:cNvSpPr/>
          <p:nvPr/>
        </p:nvSpPr>
        <p:spPr>
          <a:xfrm>
            <a:off x="1495376" y="10092531"/>
            <a:ext cx="1220311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תקשוב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2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2400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1" name="מלבן 150"/>
          <p:cNvSpPr/>
          <p:nvPr/>
        </p:nvSpPr>
        <p:spPr>
          <a:xfrm>
            <a:off x="1581892" y="9356367"/>
            <a:ext cx="1220309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 err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חה"י</a:t>
            </a:r>
            <a:endParaRPr lang="he-IL" sz="2400" b="1">
              <a:ln>
                <a:solidFill>
                  <a:schemeClr val="bg1"/>
                </a:solidFill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2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6%)</a:t>
            </a:r>
            <a:endParaRPr lang="he-IL" sz="28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2918545" y="8848536"/>
            <a:ext cx="2809082" cy="2308324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7200" b="1">
                <a:ln w="3810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כ-419</a:t>
            </a:r>
          </a:p>
        </p:txBody>
      </p:sp>
      <p:sp>
        <p:nvSpPr>
          <p:cNvPr id="153" name="מלבן 152"/>
          <p:cNvSpPr/>
          <p:nvPr/>
        </p:nvSpPr>
        <p:spPr>
          <a:xfrm>
            <a:off x="3157902" y="7796991"/>
            <a:ext cx="1042020" cy="104644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400" b="1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אחרים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8%)</a:t>
            </a:r>
            <a:endParaRPr lang="he-IL" sz="1400">
              <a:ln>
                <a:solidFill>
                  <a:schemeClr val="bg1"/>
                </a:solidFill>
              </a:ln>
              <a:solidFill>
                <a:schemeClr val="bg1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54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05251" y="1097596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110038" y="11029935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6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76726" y="109315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7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459288" y="10996597"/>
            <a:ext cx="215900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8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52963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9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868863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0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775076" y="108934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1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05213" y="10969610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2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416301" y="10823560"/>
            <a:ext cx="21590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8413" y="10769585"/>
            <a:ext cx="215900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3" name="מלבן 182"/>
          <p:cNvSpPr/>
          <p:nvPr/>
        </p:nvSpPr>
        <p:spPr>
          <a:xfrm>
            <a:off x="2015697" y="8386282"/>
            <a:ext cx="1214446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2000" b="1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ח"א ומפא"ת</a:t>
            </a:r>
          </a:p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140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(14%)</a:t>
            </a:r>
            <a:endParaRPr lang="he-IL" sz="1400">
              <a:ln>
                <a:solidFill>
                  <a:schemeClr val="tx1"/>
                </a:solidFill>
              </a:ln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3" name="תרשים 2"/>
          <p:cNvGraphicFramePr/>
          <p:nvPr>
            <p:extLst>
              <p:ext uri="{D42A27DB-BD31-4B8C-83A1-F6EECF244321}">
                <p14:modId xmlns="" xmlns:p14="http://schemas.microsoft.com/office/powerpoint/2010/main" val="703876724"/>
              </p:ext>
            </p:extLst>
          </p:nvPr>
        </p:nvGraphicFramePr>
        <p:xfrm>
          <a:off x="899592" y="-387424"/>
          <a:ext cx="7338572" cy="79846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8" name="TextBox 197"/>
          <p:cNvSpPr txBox="1"/>
          <p:nvPr/>
        </p:nvSpPr>
        <p:spPr>
          <a:xfrm>
            <a:off x="3133799" y="2300679"/>
            <a:ext cx="2809082" cy="1200329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 rtl="0" eaLnBrk="1" fontAlgn="auto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he-IL" sz="7200" b="1" dirty="0">
                <a:ln w="3810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419</a:t>
            </a:r>
          </a:p>
        </p:txBody>
      </p:sp>
      <p:sp>
        <p:nvSpPr>
          <p:cNvPr id="46" name="מלבן 45"/>
          <p:cNvSpPr/>
          <p:nvPr/>
        </p:nvSpPr>
        <p:spPr>
          <a:xfrm>
            <a:off x="2843808" y="3212976"/>
            <a:ext cx="352839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/>
          </a:p>
        </p:txBody>
      </p:sp>
      <p:sp>
        <p:nvSpPr>
          <p:cNvPr id="47" name="מלבן 46"/>
          <p:cNvSpPr/>
          <p:nvPr/>
        </p:nvSpPr>
        <p:spPr>
          <a:xfrm>
            <a:off x="2843808" y="2852936"/>
            <a:ext cx="504056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/>
          </a:p>
        </p:txBody>
      </p:sp>
      <p:sp>
        <p:nvSpPr>
          <p:cNvPr id="48" name="מלבן 47"/>
          <p:cNvSpPr/>
          <p:nvPr/>
        </p:nvSpPr>
        <p:spPr>
          <a:xfrm>
            <a:off x="3419872" y="3861048"/>
            <a:ext cx="2448272" cy="12241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/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51631" y="3682761"/>
            <a:ext cx="592577" cy="538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0" name="TextBox 49"/>
          <p:cNvSpPr txBox="1"/>
          <p:nvPr/>
        </p:nvSpPr>
        <p:spPr>
          <a:xfrm>
            <a:off x="2627784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100%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19872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spcBef>
                <a:spcPct val="0"/>
              </a:spcBef>
              <a:defRPr/>
            </a:pPr>
            <a:r>
              <a:rPr lang="en-US" sz="2000" dirty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63%</a:t>
            </a:r>
            <a:endParaRPr lang="he-IL" sz="20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067944" y="4126024"/>
            <a:ext cx="1080120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spcBef>
                <a:spcPct val="0"/>
              </a:spcBef>
              <a:defRPr/>
            </a:pPr>
            <a:r>
              <a:rPr lang="en-US" sz="200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3</a:t>
            </a:r>
            <a:endParaRPr lang="he-IL" sz="200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  <p:pic>
        <p:nvPicPr>
          <p:cNvPr id="53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299988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4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370790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5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27984" y="3742928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6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3707904" y="3477952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7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34201" y="3477952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8" name="Picture 6" descr="http://etc-mysitemyway.s3.amazonaws.com/icons/legacy-previews/icons/glossy-black-icons-people-things/062553-glossy-black-icon-people-things-hat-graduation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18671" t="17467" r="20256" b="15460"/>
          <a:stretch>
            <a:fillRect/>
          </a:stretch>
        </p:blipFill>
        <p:spPr bwMode="auto">
          <a:xfrm>
            <a:off x="4440418" y="3212976"/>
            <a:ext cx="393414" cy="432000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59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5292080" y="4437112"/>
            <a:ext cx="436971" cy="70359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60" name="TextBox 59"/>
          <p:cNvSpPr txBox="1"/>
          <p:nvPr/>
        </p:nvSpPr>
        <p:spPr>
          <a:xfrm>
            <a:off x="4283968" y="4437112"/>
            <a:ext cx="147616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spcBef>
                <a:spcPct val="0"/>
              </a:spcBef>
              <a:defRPr/>
            </a:pPr>
            <a:r>
              <a:rPr lang="en-US" sz="2400" dirty="0">
                <a:ln w="38100"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Segoe UI Semilight" panose="020B0402040204020203" pitchFamily="34" charset="0"/>
              </a:rPr>
              <a:t>16</a:t>
            </a:r>
            <a:endParaRPr lang="he-IL" sz="2400" dirty="0">
              <a:ln w="3810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Segoe UI Semilight" panose="020B0402040204020203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3419872" y="4725144"/>
            <a:ext cx="1944216" cy="132343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l" rtl="0"/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itchFamily="66" charset="0"/>
              </a:rPr>
              <a:t>Brigadier General Excellence and Higher</a:t>
            </a:r>
          </a:p>
          <a:p>
            <a:r>
              <a:rPr lang="en-US" sz="1600" dirty="0" smtClean="0"/>
              <a:t/>
            </a:r>
            <a:br>
              <a:rPr lang="en-US" sz="1600" dirty="0" smtClean="0"/>
            </a:br>
            <a:endParaRPr lang="he-IL" sz="1600" dirty="0">
              <a:ln w="38100"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latin typeface="Segoe UI Semilight" panose="020B0402040204020203" pitchFamily="34" charset="0"/>
              <a:ea typeface="Microsoft YaHei" panose="020B0503020204020204" pitchFamily="34" charset="-122"/>
              <a:cs typeface="Segoe UI Semilight" panose="020B0402040204020203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951531" y="3680733"/>
            <a:ext cx="1080120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spcBef>
                <a:spcPct val="0"/>
              </a:spcBef>
              <a:defRPr/>
            </a:pPr>
            <a:r>
              <a:rPr lang="en-US" sz="2800" dirty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risten ITC" panose="03050502040202030202" pitchFamily="66" charset="0"/>
                <a:ea typeface="Microsoft YaHei" panose="020B0503020204020204" pitchFamily="34" charset="-122"/>
                <a:cs typeface="Guttman Kav" panose="02010401010101010101" pitchFamily="2" charset="-79"/>
              </a:rPr>
              <a:t>419</a:t>
            </a:r>
            <a:endParaRPr lang="he-IL" sz="28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risten ITC" panose="03050502040202030202" pitchFamily="66" charset="0"/>
              <a:ea typeface="Microsoft YaHei" panose="020B0503020204020204" pitchFamily="34" charset="-122"/>
              <a:cs typeface="Guttman Kav" panose="02010401010101010101" pitchFamily="2" charset="-79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928913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08720"/>
            <a:ext cx="9144000" cy="36317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en-US" sz="11500" b="1" dirty="0" smtClean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ost effectively</a:t>
            </a:r>
            <a:endParaRPr lang="he-IL" sz="11500" b="1" dirty="0">
              <a:ln w="28575">
                <a:solidFill>
                  <a:srgbClr val="0070C0"/>
                </a:solidFill>
              </a:ln>
              <a:solidFill>
                <a:srgbClr val="0070C0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2990407"/>
      </p:ext>
    </p:extLst>
  </p:cSld>
  <p:clrMapOvr>
    <a:masterClrMapping/>
  </p:clrMapOvr>
  <p:transition/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קשת 21"/>
          <p:cNvSpPr/>
          <p:nvPr/>
        </p:nvSpPr>
        <p:spPr>
          <a:xfrm rot="10800000">
            <a:off x="7488504" y="3429000"/>
            <a:ext cx="1620000" cy="2052228"/>
          </a:xfrm>
          <a:prstGeom prst="arc">
            <a:avLst>
              <a:gd name="adj1" fmla="val 16200000"/>
              <a:gd name="adj2" fmla="val 5321449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</a:endParaRPr>
          </a:p>
        </p:txBody>
      </p:sp>
      <p:sp>
        <p:nvSpPr>
          <p:cNvPr id="20" name="קשת 19"/>
          <p:cNvSpPr/>
          <p:nvPr/>
        </p:nvSpPr>
        <p:spPr>
          <a:xfrm>
            <a:off x="7308304" y="1412776"/>
            <a:ext cx="1620000" cy="2052228"/>
          </a:xfrm>
          <a:prstGeom prst="arc">
            <a:avLst>
              <a:gd name="adj1" fmla="val 16200000"/>
              <a:gd name="adj2" fmla="val 5321449"/>
            </a:avLst>
          </a:prstGeom>
          <a:ln w="28575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black"/>
              </a:solidFill>
            </a:endParaRPr>
          </a:p>
        </p:txBody>
      </p:sp>
      <p:sp>
        <p:nvSpPr>
          <p:cNvPr id="4" name="מלבן 3"/>
          <p:cNvSpPr/>
          <p:nvPr/>
        </p:nvSpPr>
        <p:spPr>
          <a:xfrm>
            <a:off x="0" y="-99392"/>
            <a:ext cx="9143999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>
              <a:lnSpc>
                <a:spcPct val="150000"/>
              </a:lnSpc>
              <a:defRPr/>
            </a:pPr>
            <a:r>
              <a:rPr lang="en-US" altLang="he-IL" sz="32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'To the Edge‘ – Efficiency</a:t>
            </a:r>
            <a:endParaRPr lang="he-IL" altLang="he-IL" sz="32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5" name="אליפסה 4"/>
          <p:cNvSpPr/>
          <p:nvPr/>
        </p:nvSpPr>
        <p:spPr>
          <a:xfrm>
            <a:off x="7668344" y="908720"/>
            <a:ext cx="1080000" cy="1080000"/>
          </a:xfrm>
          <a:prstGeom prst="ellipse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6" name="אליפסה 5"/>
          <p:cNvSpPr/>
          <p:nvPr/>
        </p:nvSpPr>
        <p:spPr>
          <a:xfrm>
            <a:off x="7740352" y="2636912"/>
            <a:ext cx="1080000" cy="1080000"/>
          </a:xfrm>
          <a:prstGeom prst="ellipse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אליפסה 6"/>
          <p:cNvSpPr/>
          <p:nvPr/>
        </p:nvSpPr>
        <p:spPr>
          <a:xfrm>
            <a:off x="7164288" y="4005064"/>
            <a:ext cx="1080000" cy="1080000"/>
          </a:xfrm>
          <a:prstGeom prst="ellipse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אליפסה 11"/>
          <p:cNvSpPr/>
          <p:nvPr/>
        </p:nvSpPr>
        <p:spPr>
          <a:xfrm>
            <a:off x="7452320" y="5589240"/>
            <a:ext cx="1080000" cy="1080000"/>
          </a:xfrm>
          <a:prstGeom prst="ellipse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כותרת 1"/>
          <p:cNvSpPr txBox="1"/>
          <p:nvPr/>
        </p:nvSpPr>
        <p:spPr>
          <a:xfrm>
            <a:off x="395536" y="1052736"/>
            <a:ext cx="7128792" cy="9771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>
              <a:lnSpc>
                <a:spcPct val="150000"/>
              </a:lnSpc>
            </a:pPr>
            <a:r>
              <a:rPr lang="en-US" sz="2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A team of reserve officers and regular officers from the General Staff</a:t>
            </a:r>
            <a:endParaRPr lang="he-IL" sz="20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4" name="כותרת 1"/>
          <p:cNvSpPr txBox="1"/>
          <p:nvPr/>
        </p:nvSpPr>
        <p:spPr>
          <a:xfrm>
            <a:off x="179512" y="2204864"/>
            <a:ext cx="7200800" cy="9771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>
              <a:lnSpc>
                <a:spcPct val="150000"/>
              </a:lnSpc>
            </a:pPr>
            <a:r>
              <a:rPr lang="en-US" sz="2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"Cranes Workshop" to examine all the resources and expenses of field units</a:t>
            </a:r>
            <a:endParaRPr lang="he-IL" sz="20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5" name="כותרת 1"/>
          <p:cNvSpPr txBox="1"/>
          <p:nvPr/>
        </p:nvSpPr>
        <p:spPr>
          <a:xfrm>
            <a:off x="251520" y="3645024"/>
            <a:ext cx="7632848" cy="9771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>
              <a:lnSpc>
                <a:spcPct val="150000"/>
              </a:lnSpc>
            </a:pPr>
            <a:r>
              <a:rPr lang="en-US" sz="2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Building a roadmap for implementing efficiency and </a:t>
            </a:r>
          </a:p>
          <a:p>
            <a:pPr algn="l" rtl="0">
              <a:lnSpc>
                <a:spcPct val="150000"/>
              </a:lnSpc>
            </a:pPr>
            <a:r>
              <a:rPr lang="en-US" sz="2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avings measures</a:t>
            </a:r>
            <a:endParaRPr lang="he-IL" sz="20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6" name="כותרת 1"/>
          <p:cNvSpPr txBox="1"/>
          <p:nvPr/>
        </p:nvSpPr>
        <p:spPr>
          <a:xfrm>
            <a:off x="0" y="5301208"/>
            <a:ext cx="8208478" cy="97719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>
              <a:lnSpc>
                <a:spcPct val="150000"/>
              </a:lnSpc>
            </a:pPr>
            <a:r>
              <a:rPr lang="en-US" sz="2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Predicting the expenses according to the essence</a:t>
            </a:r>
          </a:p>
          <a:p>
            <a:pPr algn="l" rtl="0">
              <a:lnSpc>
                <a:spcPct val="150000"/>
              </a:lnSpc>
            </a:pPr>
            <a:r>
              <a:rPr lang="en-US" sz="2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 of the project</a:t>
            </a:r>
            <a:endParaRPr lang="he-IL" sz="20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ackgroundRemoval t="0" b="100000" l="0" r="100000">
                        <a14:foregroundMark x1="33721" y1="17273" x2="20930" y2="29091"/>
                        <a14:foregroundMark x1="39535" y1="80000" x2="58140" y2="83636"/>
                        <a14:foregroundMark x1="33721" y1="88182" x2="44186" y2="88182"/>
                        <a14:foregroundMark x1="44186" y1="94545" x2="52326" y2="954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40352" y="5733256"/>
            <a:ext cx="576064" cy="736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0" b="100000" l="0" r="100000">
                        <a14:backgroundMark x1="71346" y1="8589" x2="71346" y2="8589"/>
                        <a14:backgroundMark x1="96538" y1="33129" x2="96538" y2="33129"/>
                        <a14:backgroundMark x1="70192" y1="43967" x2="70192" y2="43967"/>
                        <a14:backgroundMark x1="72308" y1="92843" x2="72308" y2="9284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12360" y="2708920"/>
            <a:ext cx="892324" cy="839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ackgroundRemoval t="0" b="100000" l="0" r="100000">
                        <a14:foregroundMark x1="80952" y1="33106" x2="84982" y2="41297"/>
                        <a14:foregroundMark x1="84982" y1="9898" x2="78388" y2="10239"/>
                        <a14:foregroundMark x1="52747" y1="9556" x2="43590" y2="10922"/>
                        <a14:foregroundMark x1="15018" y1="11945" x2="10989" y2="12287"/>
                        <a14:foregroundMark x1="8791" y1="32082" x2="8425" y2="43345"/>
                        <a14:foregroundMark x1="44322" y1="31399" x2="57875" y2="33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29423" y="1052736"/>
            <a:ext cx="757842" cy="8133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backgroundRemoval t="0" b="99183" l="0" r="100000">
                        <a14:foregroundMark x1="82222" y1="67030" x2="87778" y2="69482"/>
                        <a14:foregroundMark x1="86944" y1="49864" x2="96111" y2="47956"/>
                        <a14:foregroundMark x1="81389" y1="31063" x2="89722" y2="26431"/>
                        <a14:foregroundMark x1="69167" y1="18801" x2="72778" y2="10082"/>
                        <a14:foregroundMark x1="51111" y1="11172" x2="50833" y2="3542"/>
                        <a14:foregroundMark x1="34444" y1="19346" x2="29167" y2="11172"/>
                        <a14:foregroundMark x1="20833" y1="32425" x2="11667" y2="26158"/>
                        <a14:foregroundMark x1="17778" y1="48229" x2="5000" y2="47139"/>
                        <a14:foregroundMark x1="22222" y1="65395" x2="12500" y2="703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4149080"/>
            <a:ext cx="736566" cy="750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מלבן 7"/>
          <p:cNvSpPr/>
          <p:nvPr/>
        </p:nvSpPr>
        <p:spPr>
          <a:xfrm>
            <a:off x="9408043" y="3112488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9405719" y="3568585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9405719" y="4026715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9405719" y="4482812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9847944" y="3114866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9845621" y="3570964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9845621" y="4029093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9845621" y="4485191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10303166" y="3112488"/>
            <a:ext cx="455853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10300843" y="3568585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10300843" y="4026715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3" name="מלבן 32"/>
          <p:cNvSpPr/>
          <p:nvPr/>
        </p:nvSpPr>
        <p:spPr>
          <a:xfrm>
            <a:off x="10300843" y="4482812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4" name="מלבן 33"/>
          <p:cNvSpPr/>
          <p:nvPr/>
        </p:nvSpPr>
        <p:spPr>
          <a:xfrm>
            <a:off x="10743068" y="3114866"/>
            <a:ext cx="453529" cy="456097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5" name="מלבן 34"/>
          <p:cNvSpPr/>
          <p:nvPr/>
        </p:nvSpPr>
        <p:spPr>
          <a:xfrm>
            <a:off x="10740744" y="3570964"/>
            <a:ext cx="455853" cy="456097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10740744" y="4029093"/>
            <a:ext cx="455853" cy="456097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10740744" y="4485191"/>
            <a:ext cx="455853" cy="456097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7441127"/>
      </p:ext>
    </p:extLst>
  </p:cSld>
  <p:clrMapOvr>
    <a:masterClrMapping/>
  </p:clrMapOvr>
  <p:transition/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מלבן 3"/>
          <p:cNvSpPr/>
          <p:nvPr/>
        </p:nvSpPr>
        <p:spPr>
          <a:xfrm>
            <a:off x="0" y="-99392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36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Where have we already been?</a:t>
            </a:r>
            <a:endParaRPr lang="he-IL" altLang="he-IL" sz="36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5" name="Picture 4" descr="C:\Documents and Settings\s5362921\Desktop\חמישה\סמלים\סמלים\460 good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l="9881" r="21453"/>
          <a:stretch>
            <a:fillRect/>
          </a:stretch>
        </p:blipFill>
        <p:spPr bwMode="auto">
          <a:xfrm>
            <a:off x="6763924" y="764704"/>
            <a:ext cx="1215999" cy="158445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מלבן 5"/>
          <p:cNvSpPr/>
          <p:nvPr/>
        </p:nvSpPr>
        <p:spPr>
          <a:xfrm>
            <a:off x="6323740" y="2105478"/>
            <a:ext cx="21837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he-IL" altLang="he-IL" sz="2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460 </a:t>
            </a: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he-IL" sz="2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rigade</a:t>
            </a: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74123" y="935478"/>
            <a:ext cx="1097488" cy="1212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מלבן 15"/>
          <p:cNvSpPr/>
          <p:nvPr/>
        </p:nvSpPr>
        <p:spPr>
          <a:xfrm>
            <a:off x="3515428" y="2105478"/>
            <a:ext cx="21837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2400" dirty="0" err="1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Golani</a:t>
            </a:r>
            <a:endParaRPr lang="en-US" altLang="he-IL" sz="2400" dirty="0" smtClean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he-IL" sz="2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ilitary Base</a:t>
            </a: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8" name="מלבן 17"/>
          <p:cNvSpPr/>
          <p:nvPr/>
        </p:nvSpPr>
        <p:spPr>
          <a:xfrm>
            <a:off x="6040087" y="4941168"/>
            <a:ext cx="270837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2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More than 30 applicable ideas</a:t>
            </a:r>
            <a:endParaRPr lang="he-IL" altLang="he-IL" sz="2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3217810" y="4941168"/>
            <a:ext cx="27083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2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Financial Potential of 5-10 Million Shekels</a:t>
            </a:r>
            <a:endParaRPr lang="he-IL" altLang="he-IL" sz="20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323528" y="4941168"/>
            <a:ext cx="2708377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24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Groundbreaking collaboration</a:t>
            </a: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738476" y="3645024"/>
            <a:ext cx="1311597" cy="1412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35858" y="3645024"/>
            <a:ext cx="672281" cy="1396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35611" y="3891068"/>
            <a:ext cx="1084210" cy="1073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מלבן 13"/>
          <p:cNvSpPr/>
          <p:nvPr/>
        </p:nvSpPr>
        <p:spPr>
          <a:xfrm>
            <a:off x="539552" y="2105478"/>
            <a:ext cx="21837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2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8200</a:t>
            </a: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>
              <a:lnSpc>
                <a:spcPct val="150000"/>
              </a:lnSpc>
              <a:defRPr/>
            </a:pPr>
            <a:r>
              <a:rPr lang="en-US" altLang="he-IL" sz="24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Unit</a:t>
            </a:r>
            <a:endParaRPr lang="he-IL" altLang="he-IL" sz="24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0" b="98710" l="1293" r="99569">
                        <a14:foregroundMark x1="37284" y1="9462" x2="26509" y2="17204"/>
                        <a14:foregroundMark x1="42026" y1="9892" x2="43103" y2="90968"/>
                        <a14:foregroundMark x1="57112" y1="15269" x2="53664" y2="90538"/>
                        <a14:foregroundMark x1="70905" y1="20000" x2="69181" y2="88172"/>
                        <a14:foregroundMark x1="90733" y1="44086" x2="33405" y2="55699"/>
                        <a14:foregroundMark x1="26940" y1="66452" x2="93750" y2="60645"/>
                        <a14:foregroundMark x1="86853" y1="53978" x2="69181" y2="53763"/>
                        <a14:foregroundMark x1="62931" y1="15269" x2="50647" y2="28817"/>
                        <a14:foregroundMark x1="44397" y1="32043" x2="70905" y2="17634"/>
                        <a14:foregroundMark x1="62284" y1="84301" x2="35129" y2="81720"/>
                        <a14:foregroundMark x1="31466" y1="76989" x2="77802" y2="78065"/>
                        <a14:foregroundMark x1="27586" y1="18280" x2="29526" y2="90108"/>
                        <a14:foregroundMark x1="35776" y1="34194" x2="7112" y2="49032"/>
                        <a14:foregroundMark x1="8190" y1="39355" x2="44828" y2="30323"/>
                        <a14:foregroundMark x1="40086" y1="9032" x2="9052" y2="36989"/>
                        <a14:foregroundMark x1="7759" y1="31183" x2="40086" y2="4731"/>
                        <a14:foregroundMark x1="46336" y1="4301" x2="46767" y2="18280"/>
                        <a14:foregroundMark x1="33405" y1="7527" x2="14871" y2="20000"/>
                        <a14:foregroundMark x1="7328" y1="35054" x2="4741" y2="68817"/>
                        <a14:foregroundMark x1="8190" y1="72258" x2="39655" y2="95699"/>
                        <a14:foregroundMark x1="23707" y1="61935" x2="19397" y2="69892"/>
                        <a14:foregroundMark x1="16379" y1="71613" x2="24138" y2="52043"/>
                        <a14:foregroundMark x1="40086" y1="95269" x2="51293" y2="94409"/>
                        <a14:foregroundMark x1="9052" y1="64946" x2="13578" y2="5053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42993" y="926622"/>
            <a:ext cx="1176828" cy="1178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877658699"/>
      </p:ext>
    </p:extLst>
  </p:cSld>
  <p:clrMapOvr>
    <a:masterClrMapping/>
  </p:clrMapOvr>
  <p:transition/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1"/>
          <p:cNvSpPr>
            <a:spLocks noGrp="1"/>
          </p:cNvSpPr>
          <p:nvPr>
            <p:ph type="title"/>
          </p:nvPr>
        </p:nvSpPr>
        <p:spPr>
          <a:xfrm>
            <a:off x="0" y="-124001"/>
            <a:ext cx="9144000" cy="854080"/>
          </a:xfr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3600" dirty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Connecting </a:t>
            </a:r>
            <a:r>
              <a:rPr lang="en-US" sz="3600" dirty="0" smtClean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Tanks </a:t>
            </a:r>
            <a:r>
              <a:rPr lang="en-US" sz="3600" dirty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to </a:t>
            </a:r>
            <a:r>
              <a:rPr lang="en-US" sz="3600" dirty="0" smtClean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ea typeface="+mn-ea"/>
                <a:cs typeface="Lucida Sans Unicode" panose="020B0602030504020204" pitchFamily="34" charset="0"/>
              </a:rPr>
              <a:t>Electricity</a:t>
            </a:r>
            <a:endParaRPr lang="he-IL" sz="3600" b="0" u="none" dirty="0"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latin typeface="Lucida Sans Unicode" panose="020B0602030504020204" pitchFamily="34" charset="0"/>
              <a:ea typeface="+mn-ea"/>
              <a:cs typeface="Lucida Sans Unicode" panose="020B0602030504020204" pitchFamily="34" charset="0"/>
            </a:endParaRPr>
          </a:p>
        </p:txBody>
      </p:sp>
      <p:pic>
        <p:nvPicPr>
          <p:cNvPr id="4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465" y="1269191"/>
            <a:ext cx="1525787" cy="11096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465" y="2497914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5640" y="4099200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C:\Users\U42475\Desktop\תמונות\תמונות\tan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896791" y="5229200"/>
            <a:ext cx="1525787" cy="1130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אליפסה 8"/>
          <p:cNvSpPr/>
          <p:nvPr/>
        </p:nvSpPr>
        <p:spPr>
          <a:xfrm>
            <a:off x="6948264" y="1052736"/>
            <a:ext cx="1512168" cy="51125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0" name="אליפסה 9"/>
          <p:cNvSpPr/>
          <p:nvPr/>
        </p:nvSpPr>
        <p:spPr>
          <a:xfrm>
            <a:off x="7164288" y="1075765"/>
            <a:ext cx="1512168" cy="511256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308304" y="2909429"/>
            <a:ext cx="1584176" cy="193899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Tanks Parked on the Outskirts of the Base</a:t>
            </a:r>
            <a:endParaRPr lang="he-IL" sz="2000" dirty="0">
              <a:ln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8" name="מחבר חץ ישר 7"/>
          <p:cNvCxnSpPr/>
          <p:nvPr/>
        </p:nvCxnSpPr>
        <p:spPr>
          <a:xfrm>
            <a:off x="3611367" y="1403484"/>
            <a:ext cx="3768945" cy="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739755" y="1403484"/>
            <a:ext cx="151216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200 Meters</a:t>
            </a:r>
            <a:endParaRPr lang="he-IL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875854" y="2290777"/>
            <a:ext cx="1904058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AC-DC Converter</a:t>
            </a:r>
            <a:endParaRPr lang="en-US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59632" y="5085184"/>
            <a:ext cx="2408114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 AC-DC converter</a:t>
            </a:r>
            <a:endParaRPr lang="he-IL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0" name="צורה חופשית 19"/>
          <p:cNvSpPr/>
          <p:nvPr/>
        </p:nvSpPr>
        <p:spPr>
          <a:xfrm flipV="1">
            <a:off x="3923928" y="5235859"/>
            <a:ext cx="3955189" cy="137357"/>
          </a:xfrm>
          <a:custGeom>
            <a:avLst/>
            <a:gdLst>
              <a:gd name="connsiteX0" fmla="*/ 4371975 w 4371975"/>
              <a:gd name="connsiteY0" fmla="*/ 70384 h 70384"/>
              <a:gd name="connsiteX1" fmla="*/ 0 w 4371975"/>
              <a:gd name="connsiteY1" fmla="*/ 32284 h 7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71975" h="70384">
                <a:moveTo>
                  <a:pt x="4371975" y="70384"/>
                </a:moveTo>
                <a:cubicBezTo>
                  <a:pt x="2441575" y="17203"/>
                  <a:pt x="511175" y="-35978"/>
                  <a:pt x="0" y="32284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3" name="צורה חופשית 22"/>
          <p:cNvSpPr/>
          <p:nvPr/>
        </p:nvSpPr>
        <p:spPr>
          <a:xfrm>
            <a:off x="3923928" y="2219275"/>
            <a:ext cx="3697348" cy="273621"/>
          </a:xfrm>
          <a:custGeom>
            <a:avLst/>
            <a:gdLst>
              <a:gd name="connsiteX0" fmla="*/ 4371975 w 4371975"/>
              <a:gd name="connsiteY0" fmla="*/ 70384 h 70384"/>
              <a:gd name="connsiteX1" fmla="*/ 0 w 4371975"/>
              <a:gd name="connsiteY1" fmla="*/ 32284 h 703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371975" h="70384">
                <a:moveTo>
                  <a:pt x="4371975" y="70384"/>
                </a:moveTo>
                <a:cubicBezTo>
                  <a:pt x="2441575" y="17203"/>
                  <a:pt x="511175" y="-35978"/>
                  <a:pt x="0" y="32284"/>
                </a:cubicBezTo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 rot="253196">
            <a:off x="4494356" y="2318257"/>
            <a:ext cx="1966863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Electric Cable</a:t>
            </a:r>
            <a:endParaRPr lang="en-US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07475" y="4994363"/>
            <a:ext cx="174444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Electric Cable</a:t>
            </a:r>
            <a:endParaRPr lang="he-IL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 rot="253196">
            <a:off x="7218637" y="2279948"/>
            <a:ext cx="15121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Electrical Network</a:t>
            </a:r>
            <a:endParaRPr lang="he-IL" sz="1400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 rot="253196">
            <a:off x="7277889" y="5016840"/>
            <a:ext cx="1512168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ln>
                  <a:solidFill>
                    <a:srgbClr val="0070C0"/>
                  </a:solidFill>
                </a:ln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Electrical Network</a:t>
            </a:r>
            <a:endParaRPr lang="he-IL" sz="1400" dirty="0">
              <a:ln>
                <a:solidFill>
                  <a:srgbClr val="0070C0"/>
                </a:solidFill>
              </a:ln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4" name="חץ מעוקל למעלה 33"/>
          <p:cNvSpPr/>
          <p:nvPr/>
        </p:nvSpPr>
        <p:spPr>
          <a:xfrm rot="14199466">
            <a:off x="3391015" y="1871796"/>
            <a:ext cx="634341" cy="30362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39552" y="3379242"/>
            <a:ext cx="1336302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Training Area</a:t>
            </a:r>
            <a:endParaRPr lang="he-IL" sz="2000" dirty="0">
              <a:ln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95536" y="710284"/>
            <a:ext cx="1139825" cy="1520825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3" name="TextBox 2"/>
          <p:cNvSpPr txBox="1"/>
          <p:nvPr/>
        </p:nvSpPr>
        <p:spPr>
          <a:xfrm>
            <a:off x="395536" y="2042264"/>
            <a:ext cx="1224136" cy="52322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ln>
                  <a:solidFill>
                    <a:srgbClr val="FF0000"/>
                  </a:solidFill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Fuel Saving Product</a:t>
            </a:r>
            <a:endParaRPr lang="he-IL" sz="1400" dirty="0">
              <a:ln>
                <a:solidFill>
                  <a:srgbClr val="FF0000"/>
                </a:solidFill>
              </a:ln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419872" y="3427178"/>
            <a:ext cx="3616696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marL="6350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24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Saving 2 </a:t>
            </a:r>
            <a:r>
              <a:rPr lang="en-US" sz="2400" dirty="0" smtClean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million NIS </a:t>
            </a:r>
            <a:r>
              <a:rPr lang="en-US" sz="2400" dirty="0">
                <a:ln>
                  <a:solidFill>
                    <a:prstClr val="black"/>
                  </a:solidFill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ea typeface="Tahoma" panose="020B0604030504040204" pitchFamily="34" charset="0"/>
                <a:cs typeface="Lucida Sans Unicode" panose="020B0602030504020204" pitchFamily="34" charset="0"/>
              </a:rPr>
              <a:t>per year with diesel fuel</a:t>
            </a:r>
            <a:endParaRPr lang="he-IL" sz="2400" dirty="0">
              <a:ln>
                <a:solidFill>
                  <a:prstClr val="black"/>
                </a:solidFill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ea typeface="Tahoma" panose="020B060403050404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8" name="חץ מעוקל למעלה 37"/>
          <p:cNvSpPr/>
          <p:nvPr/>
        </p:nvSpPr>
        <p:spPr>
          <a:xfrm rot="8132385" flipV="1">
            <a:off x="3405035" y="2824681"/>
            <a:ext cx="634341" cy="32306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0" name="חץ מעוקל למעלה 39"/>
          <p:cNvSpPr/>
          <p:nvPr/>
        </p:nvSpPr>
        <p:spPr>
          <a:xfrm rot="14199466">
            <a:off x="3465233" y="4670513"/>
            <a:ext cx="634341" cy="303627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1" name="חץ מעוקל למעלה 40"/>
          <p:cNvSpPr/>
          <p:nvPr/>
        </p:nvSpPr>
        <p:spPr>
          <a:xfrm rot="8132385" flipV="1">
            <a:off x="3479253" y="5549126"/>
            <a:ext cx="634341" cy="32306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he-IL"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6">
                    <a14:imgEffect>
                      <a14:backgroundRemoval t="2353" b="89804" l="9596" r="8989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599683" y="2219275"/>
            <a:ext cx="456405" cy="662383"/>
          </a:xfrm>
          <a:prstGeom prst="rect">
            <a:avLst/>
          </a:prstGeom>
          <a:noFill/>
          <a:ln w="9525">
            <a:noFill/>
            <a:miter lim="800000"/>
          </a:ln>
        </p:spPr>
      </p:pic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6">
                    <a14:imgEffect>
                      <a14:backgroundRemoval t="2353" b="89804" l="9596" r="89899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627154" y="4993945"/>
            <a:ext cx="456405" cy="662383"/>
          </a:xfrm>
          <a:prstGeom prst="rect">
            <a:avLst/>
          </a:prstGeom>
          <a:noFill/>
          <a:ln w="9525">
            <a:noFill/>
            <a:miter lim="800000"/>
          </a:ln>
        </p:spPr>
      </p:pic>
      <p:sp>
        <p:nvSpPr>
          <p:cNvPr id="44" name="מלבן מעוגל 43"/>
          <p:cNvSpPr/>
          <p:nvPr/>
        </p:nvSpPr>
        <p:spPr>
          <a:xfrm>
            <a:off x="3611366" y="3227433"/>
            <a:ext cx="3162807" cy="1281687"/>
          </a:xfrm>
          <a:prstGeom prst="round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pic>
        <p:nvPicPr>
          <p:cNvPr id="45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0" b="100000" l="0" r="100000">
                        <a14:foregroundMark x1="82143" y1="48120" x2="91071" y2="51128"/>
                        <a14:foregroundMark x1="84821" y1="32331" x2="93750" y2="30827"/>
                        <a14:foregroundMark x1="72321" y1="19549" x2="79464" y2="13534"/>
                        <a14:foregroundMark x1="48214" y1="5263" x2="48214" y2="15038"/>
                        <a14:foregroundMark x1="20536" y1="12030" x2="29464" y2="21053"/>
                        <a14:foregroundMark x1="7143" y1="27820" x2="15179" y2="33083"/>
                        <a14:foregroundMark x1="2679" y1="50376" x2="16071" y2="47368"/>
                        <a14:foregroundMark x1="46429" y1="83459" x2="49107" y2="9774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88572" y="2854121"/>
            <a:ext cx="563447" cy="670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="" xmlns:a14="http://schemas.microsoft.com/office/drawing/2010/main">
                  <a14:imgLayer r:embed="rId10">
                    <a14:imgEffect>
                      <a14:backgroundRemoval t="0" b="100000" l="1596" r="1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433975" y="4929992"/>
            <a:ext cx="540746" cy="7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="" xmlns:a14="http://schemas.microsoft.com/office/drawing/2010/main">
                  <a14:imgLayer r:embed="rId10">
                    <a14:imgEffect>
                      <a14:backgroundRemoval t="0" b="100000" l="1596" r="1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8304" y="2147206"/>
            <a:ext cx="540746" cy="76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07318440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835833"/>
            <a:ext cx="9144000" cy="452431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en-US" sz="9600" b="1" dirty="0" smtClean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nd with the most suitable people</a:t>
            </a:r>
            <a:endParaRPr lang="he-IL" sz="9600" b="1" dirty="0">
              <a:ln w="28575">
                <a:solidFill>
                  <a:srgbClr val="0070C0"/>
                </a:solidFill>
              </a:ln>
              <a:solidFill>
                <a:srgbClr val="0070C0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08677485"/>
      </p:ext>
    </p:extLst>
  </p:cSld>
  <p:clrMapOvr>
    <a:masterClrMapping/>
  </p:clrMapOvr>
  <p:transition/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אליפסה 41"/>
          <p:cNvSpPr/>
          <p:nvPr/>
        </p:nvSpPr>
        <p:spPr>
          <a:xfrm>
            <a:off x="2966002" y="1846422"/>
            <a:ext cx="3290158" cy="3301467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419872" y="2636912"/>
            <a:ext cx="2424400" cy="175432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600" dirty="0" smtClean="0"/>
              <a:t>The World of Officers</a:t>
            </a:r>
            <a:endParaRPr lang="en-US" sz="3600" dirty="0"/>
          </a:p>
        </p:txBody>
      </p:sp>
      <p:sp>
        <p:nvSpPr>
          <p:cNvPr id="48" name="TextBox 47"/>
          <p:cNvSpPr txBox="1"/>
          <p:nvPr/>
        </p:nvSpPr>
        <p:spPr>
          <a:xfrm>
            <a:off x="1763688" y="4811328"/>
            <a:ext cx="2138224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b="1" u="sng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Brig.</a:t>
            </a:r>
            <a:endParaRPr lang="en-US" b="1" u="sng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en-US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Today a staff officer</a:t>
            </a:r>
          </a:p>
          <a:p>
            <a:pPr algn="ctr" rtl="0"/>
            <a:r>
              <a:rPr lang="en-US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0 years in </a:t>
            </a:r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combat</a:t>
            </a:r>
            <a:r>
              <a:rPr lang="he-IL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k</a:t>
            </a:r>
            <a:r>
              <a:rPr lang="he-IL" b="1" dirty="0" err="1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39</a:t>
            </a:r>
            <a:r>
              <a:rPr lang="he-IL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₪</a:t>
            </a:r>
            <a:endParaRPr lang="en-US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5630104" y="4811328"/>
            <a:ext cx="1584176" cy="147732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b="1" u="sng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Brig.</a:t>
            </a:r>
          </a:p>
          <a:p>
            <a:pPr algn="ctr"/>
            <a:r>
              <a:rPr lang="en-US" sz="16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0 </a:t>
            </a:r>
            <a:r>
              <a:rPr lang="en-US" sz="16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years</a:t>
            </a:r>
            <a:endParaRPr lang="en-US" sz="16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en-US" sz="1600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As a </a:t>
            </a:r>
            <a:r>
              <a:rPr lang="en-US" sz="16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Staff Officer</a:t>
            </a:r>
            <a:r>
              <a:rPr lang="he-IL" sz="1600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endParaRPr lang="en-US" sz="1600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en-US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9k</a:t>
            </a:r>
            <a:r>
              <a:rPr lang="he-IL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he-IL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₪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5270064" y="764704"/>
            <a:ext cx="2304256" cy="196977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b="1" u="sng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ajor of Technology</a:t>
            </a:r>
          </a:p>
          <a:p>
            <a:pPr algn="ctr"/>
            <a:r>
              <a:rPr lang="en-US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8 years of service</a:t>
            </a:r>
          </a:p>
          <a:p>
            <a:pPr algn="ctr"/>
            <a:r>
              <a:rPr lang="en-US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24k</a:t>
            </a:r>
            <a:r>
              <a:rPr lang="he-IL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₪</a:t>
            </a:r>
            <a:endParaRPr lang="en-US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en-US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endParaRPr lang="he-IL" dirty="0" smtClean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algn="ctr"/>
            <a:r>
              <a:rPr lang="he-IL" sz="20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endParaRPr lang="he-IL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079696" y="764704"/>
            <a:ext cx="1584176" cy="166199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400" b="1" u="sng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ajor of Medicine</a:t>
            </a:r>
          </a:p>
          <a:p>
            <a:pPr algn="ctr" rtl="0"/>
            <a:r>
              <a:rPr lang="en-US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10 years of service</a:t>
            </a:r>
          </a:p>
          <a:p>
            <a:pPr algn="ctr" rtl="0"/>
            <a:r>
              <a:rPr lang="he-IL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₪</a:t>
            </a:r>
            <a:r>
              <a:rPr lang="en-US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31K</a:t>
            </a:r>
            <a:endParaRPr lang="he-IL" sz="24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8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7070" b="3030"/>
          <a:stretch>
            <a:fillRect/>
          </a:stretch>
        </p:blipFill>
        <p:spPr bwMode="auto">
          <a:xfrm>
            <a:off x="7596336" y="2516882"/>
            <a:ext cx="1491808" cy="213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189078" y="1792369"/>
            <a:ext cx="2151821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2000" b="1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en-US" dirty="0" smtClean="0"/>
              <a:t>“The People of  the </a:t>
            </a:r>
            <a:r>
              <a:rPr lang="en-US" dirty="0" err="1" smtClean="0"/>
              <a:t>Kiriya</a:t>
            </a:r>
            <a:r>
              <a:rPr lang="en-US" dirty="0" smtClean="0"/>
              <a:t>”</a:t>
            </a:r>
            <a:endParaRPr lang="he-IL" dirty="0"/>
          </a:p>
        </p:txBody>
      </p:sp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6886"/>
          <a:stretch>
            <a:fillRect/>
          </a:stretch>
        </p:blipFill>
        <p:spPr bwMode="auto">
          <a:xfrm>
            <a:off x="289210" y="2924944"/>
            <a:ext cx="1468236" cy="1472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-36512" y="2492896"/>
            <a:ext cx="2119681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/>
            <a:r>
              <a:rPr lang="en-US" sz="2000" b="1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Shadow People</a:t>
            </a:r>
            <a:endParaRPr lang="he-IL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" name="צורה חופשית 4"/>
          <p:cNvSpPr/>
          <p:nvPr/>
        </p:nvSpPr>
        <p:spPr>
          <a:xfrm>
            <a:off x="5788325" y="2332911"/>
            <a:ext cx="478632" cy="2316727"/>
          </a:xfrm>
          <a:custGeom>
            <a:avLst/>
            <a:gdLst>
              <a:gd name="connsiteX0" fmla="*/ 17252 w 478632"/>
              <a:gd name="connsiteY0" fmla="*/ 0 h 2286000"/>
              <a:gd name="connsiteX1" fmla="*/ 258792 w 478632"/>
              <a:gd name="connsiteY1" fmla="*/ 319177 h 2286000"/>
              <a:gd name="connsiteX2" fmla="*/ 422694 w 478632"/>
              <a:gd name="connsiteY2" fmla="*/ 698739 h 2286000"/>
              <a:gd name="connsiteX3" fmla="*/ 474452 w 478632"/>
              <a:gd name="connsiteY3" fmla="*/ 1293962 h 2286000"/>
              <a:gd name="connsiteX4" fmla="*/ 327803 w 478632"/>
              <a:gd name="connsiteY4" fmla="*/ 1846053 h 2286000"/>
              <a:gd name="connsiteX5" fmla="*/ 0 w 478632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631" h="2286000">
                <a:moveTo>
                  <a:pt x="17252" y="0"/>
                </a:moveTo>
                <a:cubicBezTo>
                  <a:pt x="104235" y="101360"/>
                  <a:pt x="191218" y="202720"/>
                  <a:pt x="258792" y="319177"/>
                </a:cubicBezTo>
                <a:cubicBezTo>
                  <a:pt x="326366" y="435634"/>
                  <a:pt x="386751" y="536275"/>
                  <a:pt x="422694" y="698739"/>
                </a:cubicBezTo>
                <a:cubicBezTo>
                  <a:pt x="458637" y="861203"/>
                  <a:pt x="490267" y="1102743"/>
                  <a:pt x="474452" y="1293962"/>
                </a:cubicBezTo>
                <a:cubicBezTo>
                  <a:pt x="458637" y="1485181"/>
                  <a:pt x="406878" y="1680713"/>
                  <a:pt x="327803" y="1846053"/>
                </a:cubicBezTo>
                <a:cubicBezTo>
                  <a:pt x="248728" y="2011393"/>
                  <a:pt x="124364" y="2148696"/>
                  <a:pt x="0" y="2286000"/>
                </a:cubicBezTo>
              </a:path>
            </a:pathLst>
          </a:cu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צורה חופשית 25"/>
          <p:cNvSpPr/>
          <p:nvPr/>
        </p:nvSpPr>
        <p:spPr>
          <a:xfrm flipH="1">
            <a:off x="2987824" y="2336409"/>
            <a:ext cx="478632" cy="2316727"/>
          </a:xfrm>
          <a:custGeom>
            <a:avLst/>
            <a:gdLst>
              <a:gd name="connsiteX0" fmla="*/ 17252 w 478632"/>
              <a:gd name="connsiteY0" fmla="*/ 0 h 2286000"/>
              <a:gd name="connsiteX1" fmla="*/ 258792 w 478632"/>
              <a:gd name="connsiteY1" fmla="*/ 319177 h 2286000"/>
              <a:gd name="connsiteX2" fmla="*/ 422694 w 478632"/>
              <a:gd name="connsiteY2" fmla="*/ 698739 h 2286000"/>
              <a:gd name="connsiteX3" fmla="*/ 474452 w 478632"/>
              <a:gd name="connsiteY3" fmla="*/ 1293962 h 2286000"/>
              <a:gd name="connsiteX4" fmla="*/ 327803 w 478632"/>
              <a:gd name="connsiteY4" fmla="*/ 1846053 h 2286000"/>
              <a:gd name="connsiteX5" fmla="*/ 0 w 478632"/>
              <a:gd name="connsiteY5" fmla="*/ 2286000 h 228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631" h="2286000">
                <a:moveTo>
                  <a:pt x="17252" y="0"/>
                </a:moveTo>
                <a:cubicBezTo>
                  <a:pt x="104235" y="101360"/>
                  <a:pt x="191218" y="202720"/>
                  <a:pt x="258792" y="319177"/>
                </a:cubicBezTo>
                <a:cubicBezTo>
                  <a:pt x="326366" y="435634"/>
                  <a:pt x="386751" y="536275"/>
                  <a:pt x="422694" y="698739"/>
                </a:cubicBezTo>
                <a:cubicBezTo>
                  <a:pt x="458637" y="861203"/>
                  <a:pt x="490267" y="1102743"/>
                  <a:pt x="474452" y="1293962"/>
                </a:cubicBezTo>
                <a:cubicBezTo>
                  <a:pt x="458637" y="1485181"/>
                  <a:pt x="406878" y="1680713"/>
                  <a:pt x="327803" y="1846053"/>
                </a:cubicBezTo>
                <a:cubicBezTo>
                  <a:pt x="248728" y="2011393"/>
                  <a:pt x="124364" y="2148696"/>
                  <a:pt x="0" y="2286000"/>
                </a:cubicBezTo>
              </a:path>
            </a:pathLst>
          </a:cu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5" name="אליפסה 54"/>
          <p:cNvSpPr/>
          <p:nvPr/>
        </p:nvSpPr>
        <p:spPr>
          <a:xfrm>
            <a:off x="5620090" y="2131434"/>
            <a:ext cx="216024" cy="288032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sz="320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57" name="אליפסה 56"/>
          <p:cNvSpPr/>
          <p:nvPr/>
        </p:nvSpPr>
        <p:spPr>
          <a:xfrm>
            <a:off x="3448393" y="2131434"/>
            <a:ext cx="216024" cy="288032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46" name="אליפסה 45"/>
          <p:cNvSpPr/>
          <p:nvPr/>
        </p:nvSpPr>
        <p:spPr>
          <a:xfrm>
            <a:off x="3411714" y="4610289"/>
            <a:ext cx="216024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53" name="אליפסה 52"/>
          <p:cNvSpPr/>
          <p:nvPr/>
        </p:nvSpPr>
        <p:spPr>
          <a:xfrm>
            <a:off x="5669305" y="4615148"/>
            <a:ext cx="216024" cy="288032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0" y="-99392"/>
            <a:ext cx="91439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36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Salaries- A Snapshot</a:t>
            </a:r>
            <a:endParaRPr lang="he-IL" altLang="he-IL" sz="36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09555598"/>
      </p:ext>
    </p:extLst>
  </p:cSld>
  <p:clrMapOvr>
    <a:masterClrMapping/>
  </p:clrMapOvr>
  <p:transition/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5725" y="-35630"/>
            <a:ext cx="9144000" cy="46166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dirty="0" smtClean="0"/>
              <a:t>Salaries in Security Forces, Thousands </a:t>
            </a:r>
            <a:r>
              <a:rPr lang="he-IL" sz="2400" dirty="0"/>
              <a:t>₪</a:t>
            </a:r>
            <a:r>
              <a:rPr lang="en-US" sz="2400" dirty="0" smtClean="0"/>
              <a:t> , 2017</a:t>
            </a:r>
            <a:endParaRPr lang="he-IL" sz="1600" dirty="0"/>
          </a:p>
        </p:txBody>
      </p:sp>
      <p:graphicFrame>
        <p:nvGraphicFramePr>
          <p:cNvPr id="4" name="תרשים 3"/>
          <p:cNvGraphicFramePr/>
          <p:nvPr>
            <p:extLst/>
          </p:nvPr>
        </p:nvGraphicFramePr>
        <p:xfrm>
          <a:off x="431540" y="980728"/>
          <a:ext cx="8280920" cy="5400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מחבר ישר 5"/>
          <p:cNvCxnSpPr/>
          <p:nvPr/>
        </p:nvCxnSpPr>
        <p:spPr>
          <a:xfrm>
            <a:off x="467544" y="6237312"/>
            <a:ext cx="828092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מלבן 8"/>
          <p:cNvSpPr/>
          <p:nvPr/>
        </p:nvSpPr>
        <p:spPr>
          <a:xfrm>
            <a:off x="636890" y="6196392"/>
            <a:ext cx="14148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16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IDF</a:t>
            </a:r>
            <a:endParaRPr lang="he-IL" altLang="he-IL" sz="16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2267744" y="6179711"/>
            <a:ext cx="14148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16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Israel Prison Service</a:t>
            </a:r>
            <a:endParaRPr lang="he-IL" altLang="he-IL" sz="16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3707904" y="6165304"/>
            <a:ext cx="17535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sz="16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Israeli Police Force</a:t>
            </a:r>
            <a:endParaRPr lang="he-IL" altLang="he-IL" sz="16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5148064" y="6170611"/>
            <a:ext cx="2016224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he-IL" sz="14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General Security Service</a:t>
            </a:r>
          </a:p>
          <a:p>
            <a:pPr algn="ctr">
              <a:defRPr/>
            </a:pPr>
            <a:r>
              <a:rPr lang="en-US" altLang="he-IL" sz="14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And Mossad</a:t>
            </a:r>
          </a:p>
          <a:p>
            <a:pPr algn="ctr">
              <a:defRPr/>
            </a:pPr>
            <a:endParaRPr lang="he-IL" altLang="he-IL" sz="16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3" name="מלבן 12"/>
          <p:cNvSpPr/>
          <p:nvPr/>
        </p:nvSpPr>
        <p:spPr>
          <a:xfrm>
            <a:off x="7045602" y="6198133"/>
            <a:ext cx="141483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he-IL" sz="16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T</a:t>
            </a:r>
            <a:r>
              <a:rPr lang="en-US" altLang="he-IL" sz="1600" b="1" dirty="0" smtClean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he </a:t>
            </a:r>
            <a:r>
              <a:rPr lang="en-US" altLang="he-IL" sz="1600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Ministry of Defense</a:t>
            </a:r>
            <a:endParaRPr lang="he-IL" altLang="he-IL" sz="1600" b="1" dirty="0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5" name="Picture 2" descr="קובץ:IDF new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1061094" y="5217815"/>
            <a:ext cx="619977" cy="6018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7440630" y="5164264"/>
            <a:ext cx="641193" cy="6668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3" descr="C:\Users\U13311\AppData\Local\Microsoft\Windows\Temporary Internet Files\Content.Outlook\7AUJUGK7\image006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="" xmlns:a14="http://schemas.microsoft.com/office/drawing/2010/main">
                  <a14:imgLayer r:embed="rId6">
                    <a14:imgEffect>
                      <a14:backgroundRemoval t="0" b="98851" l="1111" r="100000">
                        <a14:foregroundMark x1="65556" y1="29885" x2="30000" y2="31034"/>
                        <a14:foregroundMark x1="47778" y1="59770" x2="47778" y2="70115"/>
                        <a14:foregroundMark x1="63333" y1="57471" x2="68889" y2="58621"/>
                        <a14:foregroundMark x1="58889" y1="40230" x2="57778" y2="47126"/>
                        <a14:foregroundMark x1="58889" y1="50575" x2="51111" y2="52874"/>
                        <a14:foregroundMark x1="32222" y1="57471" x2="34444" y2="57471"/>
                        <a14:foregroundMark x1="53333" y1="60920" x2="53333" y2="60920"/>
                        <a14:foregroundMark x1="54444" y1="63218" x2="54444" y2="63218"/>
                        <a14:foregroundMark x1="53333" y1="65517" x2="53333" y2="65517"/>
                        <a14:foregroundMark x1="55556" y1="65517" x2="55556" y2="65517"/>
                        <a14:foregroundMark x1="53333" y1="67816" x2="53333" y2="67816"/>
                        <a14:foregroundMark x1="52222" y1="71264" x2="52222" y2="71264"/>
                        <a14:foregroundMark x1="53333" y1="74713" x2="53333" y2="74713"/>
                        <a14:foregroundMark x1="52222" y1="78161" x2="52222" y2="78161"/>
                        <a14:foregroundMark x1="62222" y1="43678" x2="62222" y2="43678"/>
                        <a14:foregroundMark x1="64444" y1="40230" x2="66667" y2="47126"/>
                        <a14:foregroundMark x1="70000" y1="40230" x2="74444" y2="35632"/>
                        <a14:foregroundMark x1="70000" y1="50575" x2="74444" y2="55172"/>
                        <a14:foregroundMark x1="75556" y1="57471" x2="77778" y2="59770"/>
                        <a14:foregroundMark x1="24444" y1="26437" x2="28889" y2="28736"/>
                        <a14:foregroundMark x1="52222" y1="11494" x2="54444" y2="22989"/>
                        <a14:foregroundMark x1="75556" y1="32184" x2="77778" y2="31034"/>
                        <a14:foregroundMark x1="26667" y1="60920" x2="31111" y2="60920"/>
                        <a14:foregroundMark x1="24444" y1="62069" x2="24444" y2="62069"/>
                        <a14:foregroundMark x1="81111" y1="60920" x2="81111" y2="60920"/>
                        <a14:foregroundMark x1="50000" y1="6897" x2="50000" y2="6897"/>
                        <a14:foregroundMark x1="51111" y1="9195" x2="60000" y2="25287"/>
                        <a14:backgroundMark x1="12222" y1="6897" x2="4444" y2="14943"/>
                        <a14:backgroundMark x1="42222" y1="5747" x2="38889" y2="14943"/>
                        <a14:backgroundMark x1="61111" y1="2299" x2="64444" y2="11494"/>
                        <a14:backgroundMark x1="82222" y1="39080" x2="82222" y2="45977"/>
                        <a14:backgroundMark x1="68889" y1="71264" x2="57778" y2="77011"/>
                        <a14:backgroundMark x1="35556" y1="77011" x2="28889" y2="65517"/>
                        <a14:backgroundMark x1="23333" y1="49425" x2="23333" y2="41379"/>
                        <a14:backgroundMark x1="83333" y1="31034" x2="73333" y2="44828"/>
                        <a14:backgroundMark x1="72222" y1="44828" x2="81111" y2="57471"/>
                        <a14:backgroundMark x1="77778" y1="68966" x2="62222" y2="71264"/>
                        <a14:backgroundMark x1="61111" y1="72414" x2="55556" y2="81609"/>
                        <a14:backgroundMark x1="42222" y1="82759" x2="40000" y2="66667"/>
                        <a14:backgroundMark x1="37778" y1="65517" x2="23333" y2="66667"/>
                        <a14:backgroundMark x1="17778" y1="56322" x2="22222" y2="42529"/>
                        <a14:backgroundMark x1="22222" y1="42529" x2="18889" y2="32184"/>
                        <a14:backgroundMark x1="24444" y1="22989" x2="38889" y2="24138"/>
                        <a14:backgroundMark x1="38889" y1="24138" x2="46667" y2="3448"/>
                        <a14:backgroundMark x1="53333" y1="9195" x2="60000" y2="21839"/>
                        <a14:backgroundMark x1="60000" y1="22989" x2="77778" y2="229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16752" y="5289450"/>
            <a:ext cx="510496" cy="492647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תמונה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="" xmlns:a14="http://schemas.microsoft.com/office/drawing/2010/main">
                  <a14:imgLayer r:embed="rId8">
                    <a14:imgEffect>
                      <a14:backgroundRemoval t="0" b="100000" l="0" r="100000">
                        <a14:backgroundMark x1="33571" y1="28571" x2="30000" y2="33333"/>
                        <a14:backgroundMark x1="27143" y1="50794" x2="31429" y2="65873"/>
                        <a14:backgroundMark x1="67857" y1="71429" x2="71429" y2="58730"/>
                        <a14:backgroundMark x1="67857" y1="26190" x2="73571" y2="35714"/>
                        <a14:backgroundMark x1="75000" y1="44444" x2="73571" y2="52381"/>
                        <a14:backgroundMark x1="27143" y1="47619" x2="25000" y2="44444"/>
                        <a14:backgroundMark x1="25000" y1="42857" x2="25000" y2="396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7784" y="5240452"/>
            <a:ext cx="690615" cy="5906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2" name="קבוצה 21"/>
          <p:cNvGrpSpPr/>
          <p:nvPr/>
        </p:nvGrpSpPr>
        <p:grpSpPr>
          <a:xfrm>
            <a:off x="5849859" y="5013176"/>
            <a:ext cx="637963" cy="866648"/>
            <a:chOff x="-2404546" y="427432"/>
            <a:chExt cx="637963" cy="866648"/>
          </a:xfrm>
        </p:grpSpPr>
        <p:pic>
          <p:nvPicPr>
            <p:cNvPr id="19" name="Picture 42">
              <a:hlinkClick r:id="rId9"/>
            </p:cNvPr>
            <p:cNvPicPr preferRelativeResize="0"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175862" y="427432"/>
              <a:ext cx="409279" cy="4092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0" name="Picture 45">
              <a:hlinkClick r:id="rId11"/>
            </p:cNvPr>
            <p:cNvPicPr preferRelativeResize="0"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-2404546" y="836711"/>
              <a:ext cx="457369" cy="4573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cap="flat" algn="ctr">
                  <a:solidFill>
                    <a:srgbClr val="000000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24" name="מחבר חץ ישר 23"/>
          <p:cNvCxnSpPr/>
          <p:nvPr/>
        </p:nvCxnSpPr>
        <p:spPr>
          <a:xfrm flipV="1">
            <a:off x="1371083" y="-3123728"/>
            <a:ext cx="6513285" cy="2483251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אליפסה 24"/>
          <p:cNvSpPr/>
          <p:nvPr/>
        </p:nvSpPr>
        <p:spPr>
          <a:xfrm>
            <a:off x="4296725" y="-2152645"/>
            <a:ext cx="576064" cy="5760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4224625" y="-2152645"/>
            <a:ext cx="707415" cy="456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X2</a:t>
            </a:r>
            <a:endParaRPr lang="he-IL" alt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3" name="מלבן 32"/>
          <p:cNvSpPr/>
          <p:nvPr/>
        </p:nvSpPr>
        <p:spPr>
          <a:xfrm rot="20185314">
            <a:off x="-2102476" y="-1267872"/>
            <a:ext cx="1582245" cy="609272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he-IL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דוח הממונה על </a:t>
            </a:r>
            <a:r>
              <a:rPr lang="en-US" sz="17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17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he-IL" sz="1700" b="1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השכר 2017</a:t>
            </a:r>
          </a:p>
        </p:txBody>
      </p:sp>
      <p:grpSp>
        <p:nvGrpSpPr>
          <p:cNvPr id="34" name="קבוצה 33"/>
          <p:cNvGrpSpPr/>
          <p:nvPr/>
        </p:nvGrpSpPr>
        <p:grpSpPr>
          <a:xfrm>
            <a:off x="-2168082" y="-1683568"/>
            <a:ext cx="1721156" cy="1415214"/>
            <a:chOff x="2629811" y="290557"/>
            <a:chExt cx="1906602" cy="1546690"/>
          </a:xfrm>
        </p:grpSpPr>
        <p:pic>
          <p:nvPicPr>
            <p:cNvPr id="35" name="Picture 16"/>
            <p:cNvPicPr>
              <a:picLocks noChangeAspect="1" noChangeArrowheads="1"/>
            </p:cNvPicPr>
            <p:nvPr/>
          </p:nvPicPr>
          <p:blipFill>
            <a:blip r:embed="rId13" cstate="print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36" name="מלבן 3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27" name="מלבן 26"/>
          <p:cNvSpPr/>
          <p:nvPr/>
        </p:nvSpPr>
        <p:spPr>
          <a:xfrm>
            <a:off x="265113" y="7533456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27"/>
          <p:cNvSpPr/>
          <p:nvPr/>
        </p:nvSpPr>
        <p:spPr>
          <a:xfrm>
            <a:off x="1474788" y="7533456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9" name="מלבן 28"/>
          <p:cNvSpPr/>
          <p:nvPr/>
        </p:nvSpPr>
        <p:spPr>
          <a:xfrm>
            <a:off x="5103813" y="7533456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0" name="מלבן 29"/>
          <p:cNvSpPr/>
          <p:nvPr/>
        </p:nvSpPr>
        <p:spPr>
          <a:xfrm>
            <a:off x="2684463" y="7533456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1" name="מלבן 30"/>
          <p:cNvSpPr/>
          <p:nvPr/>
        </p:nvSpPr>
        <p:spPr>
          <a:xfrm>
            <a:off x="3894138" y="7533456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2" name="מלבן 31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8" name="מלבן 37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9" name="מלבן 38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grpSp>
        <p:nvGrpSpPr>
          <p:cNvPr id="44" name="קבוצה 43"/>
          <p:cNvGrpSpPr/>
          <p:nvPr/>
        </p:nvGrpSpPr>
        <p:grpSpPr>
          <a:xfrm>
            <a:off x="8030187" y="109816"/>
            <a:ext cx="1069723" cy="876179"/>
            <a:chOff x="2629811" y="290557"/>
            <a:chExt cx="1906602" cy="1546690"/>
          </a:xfrm>
        </p:grpSpPr>
        <p:pic>
          <p:nvPicPr>
            <p:cNvPr id="45" name="Picture 16"/>
            <p:cNvPicPr>
              <a:picLocks noChangeAspect="1" noChangeArrowheads="1"/>
            </p:cNvPicPr>
            <p:nvPr/>
          </p:nvPicPr>
          <p:blipFill>
            <a:blip r:embed="rId14" cstate="print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46" name="מלבן 4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port of the Supervisor of Wages 2017</a:t>
              </a:r>
              <a:endParaRPr lang="he-IL" sz="7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52" name="מלבן 51"/>
          <p:cNvSpPr/>
          <p:nvPr/>
        </p:nvSpPr>
        <p:spPr>
          <a:xfrm>
            <a:off x="539552" y="620688"/>
            <a:ext cx="1512168" cy="494107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337839" y="62068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IDF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37839" y="845759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Security Forces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42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cxnSp>
        <p:nvCxnSpPr>
          <p:cNvPr id="43" name="מחבר חץ ישר 42"/>
          <p:cNvCxnSpPr/>
          <p:nvPr/>
        </p:nvCxnSpPr>
        <p:spPr>
          <a:xfrm>
            <a:off x="1336096" y="1182139"/>
            <a:ext cx="6096989" cy="3347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מחבר חץ ישר 46"/>
          <p:cNvCxnSpPr/>
          <p:nvPr/>
        </p:nvCxnSpPr>
        <p:spPr>
          <a:xfrm flipH="1" flipV="1">
            <a:off x="1336096" y="1182139"/>
            <a:ext cx="0" cy="2262742"/>
          </a:xfrm>
          <a:prstGeom prst="straightConnector1">
            <a:avLst/>
          </a:prstGeom>
          <a:ln w="38100">
            <a:solidFill>
              <a:schemeClr val="tx1">
                <a:lumMod val="50000"/>
                <a:lumOff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אליפסה 52"/>
          <p:cNvSpPr/>
          <p:nvPr/>
        </p:nvSpPr>
        <p:spPr>
          <a:xfrm>
            <a:off x="3973937" y="901866"/>
            <a:ext cx="576064" cy="57606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1">
                <a:lumMod val="50000"/>
                <a:lumOff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58" name="מלבן 57"/>
          <p:cNvSpPr/>
          <p:nvPr/>
        </p:nvSpPr>
        <p:spPr>
          <a:xfrm>
            <a:off x="3901837" y="901866"/>
            <a:ext cx="707415" cy="456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n-US" altLang="he-IL" b="1" dirty="0">
                <a:ln>
                  <a:solidFill>
                    <a:sysClr val="windowText" lastClr="000000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</a:rPr>
              <a:t>X2</a:t>
            </a:r>
            <a:endParaRPr lang="he-IL" altLang="he-IL" b="1">
              <a:ln>
                <a:solidFill>
                  <a:sysClr val="windowText" lastClr="000000"/>
                </a:solidFill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pic>
        <p:nvPicPr>
          <p:cNvPr id="17424" name="מלבן 7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923973" y="659535"/>
            <a:ext cx="295173" cy="34392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5" name="מלבן 46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914447" y="1003456"/>
            <a:ext cx="295173" cy="34392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6" name="מלבן 47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907306" y="1347377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7" name="מלבן 48"/>
          <p:cNvPicPr>
            <a:picLocks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8800" y="64934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8" name="מלבן 49"/>
          <p:cNvPicPr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6415" y="100345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29" name="מלבן 50"/>
          <p:cNvPicPr>
            <a:picLocks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628800" y="1356282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30" name="מלבן 51"/>
          <p:cNvPicPr>
            <a:picLocks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-50"/>
          <a:stretch>
            <a:fillRect/>
          </a:stretch>
        </p:blipFill>
        <p:spPr bwMode="auto">
          <a:xfrm>
            <a:off x="-2907306" y="1684026"/>
            <a:ext cx="288032" cy="33664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מלבן 2"/>
          <p:cNvSpPr/>
          <p:nvPr/>
        </p:nvSpPr>
        <p:spPr>
          <a:xfrm>
            <a:off x="11484768" y="665434"/>
            <a:ext cx="792088" cy="850267"/>
          </a:xfrm>
          <a:prstGeom prst="rect">
            <a:avLst/>
          </a:prstGeom>
          <a:solidFill>
            <a:srgbClr val="B9D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69" name="מלבן 68"/>
          <p:cNvSpPr/>
          <p:nvPr/>
        </p:nvSpPr>
        <p:spPr>
          <a:xfrm>
            <a:off x="11607029" y="1977468"/>
            <a:ext cx="792088" cy="850267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0" name="מלבן 69"/>
          <p:cNvSpPr/>
          <p:nvPr/>
        </p:nvSpPr>
        <p:spPr>
          <a:xfrm>
            <a:off x="11729290" y="3289502"/>
            <a:ext cx="792088" cy="850267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71" name="מלבן 70"/>
          <p:cNvSpPr/>
          <p:nvPr/>
        </p:nvSpPr>
        <p:spPr>
          <a:xfrm>
            <a:off x="11851551" y="4601536"/>
            <a:ext cx="792088" cy="850267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54" name="מלבן 53"/>
          <p:cNvSpPr/>
          <p:nvPr/>
        </p:nvSpPr>
        <p:spPr>
          <a:xfrm>
            <a:off x="619199" y="892405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55" name="מלבן 54"/>
          <p:cNvSpPr/>
          <p:nvPr/>
        </p:nvSpPr>
        <p:spPr>
          <a:xfrm>
            <a:off x="619199" y="665434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977542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/>
          </p:nvPr>
        </p:nvGraphicFramePr>
        <p:xfrm>
          <a:off x="351170" y="1036111"/>
          <a:ext cx="8568952" cy="58488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-368718" y="5847"/>
            <a:ext cx="9144000" cy="892552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dirty="0" smtClean="0"/>
              <a:t>The Public Sector</a:t>
            </a:r>
            <a:endParaRPr lang="he-IL" dirty="0"/>
          </a:p>
          <a:p>
            <a:r>
              <a:rPr lang="en-US" sz="2000" dirty="0"/>
              <a:t>Thousands</a:t>
            </a:r>
            <a:r>
              <a:rPr lang="he-IL" sz="2000" dirty="0" smtClean="0"/>
              <a:t> </a:t>
            </a:r>
            <a:r>
              <a:rPr lang="he-IL" sz="2000" dirty="0"/>
              <a:t>₪, 2017</a:t>
            </a:r>
          </a:p>
        </p:txBody>
      </p:sp>
      <p:grpSp>
        <p:nvGrpSpPr>
          <p:cNvPr id="6" name="קבוצה 5"/>
          <p:cNvGrpSpPr/>
          <p:nvPr/>
        </p:nvGrpSpPr>
        <p:grpSpPr>
          <a:xfrm>
            <a:off x="8030187" y="109816"/>
            <a:ext cx="1069723" cy="876179"/>
            <a:chOff x="2629811" y="290557"/>
            <a:chExt cx="1906602" cy="1546690"/>
          </a:xfrm>
        </p:grpSpPr>
        <p:pic>
          <p:nvPicPr>
            <p:cNvPr id="7" name="Picture 16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8" name="מלבן 7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port of the Supervisor of Wages 2017</a:t>
              </a:r>
              <a:endParaRPr lang="he-IL" sz="7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9" name="מלבן 8"/>
          <p:cNvSpPr/>
          <p:nvPr/>
        </p:nvSpPr>
        <p:spPr>
          <a:xfrm>
            <a:off x="619198" y="-746587"/>
            <a:ext cx="180020" cy="164424"/>
          </a:xfrm>
          <a:prstGeom prst="rect">
            <a:avLst/>
          </a:prstGeom>
          <a:solidFill>
            <a:srgbClr val="29AA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619198" y="-508296"/>
            <a:ext cx="180020" cy="164424"/>
          </a:xfrm>
          <a:prstGeom prst="rect">
            <a:avLst/>
          </a:prstGeom>
          <a:solidFill>
            <a:srgbClr val="8CC6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1" name="מלבן 10"/>
          <p:cNvSpPr/>
          <p:nvPr/>
        </p:nvSpPr>
        <p:spPr>
          <a:xfrm>
            <a:off x="619198" y="-973557"/>
            <a:ext cx="180020" cy="164424"/>
          </a:xfrm>
          <a:prstGeom prst="rect">
            <a:avLst/>
          </a:prstGeom>
          <a:solidFill>
            <a:srgbClr val="D9E0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37838" y="1662916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Public Sector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7838" y="-55304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צה"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8" y="-79323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גופי ביטחון</a:t>
            </a:r>
          </a:p>
        </p:txBody>
      </p:sp>
      <p:sp>
        <p:nvSpPr>
          <p:cNvPr id="15" name="מלבן 14"/>
          <p:cNvSpPr/>
          <p:nvPr/>
        </p:nvSpPr>
        <p:spPr>
          <a:xfrm>
            <a:off x="539552" y="980728"/>
            <a:ext cx="1512168" cy="936104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37838" y="-101830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תעשיות ביטחוניות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37839" y="98072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IDF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37839" y="1205799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Security Forces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37839" y="144689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00" dirty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Defense industries</a:t>
            </a:r>
            <a:endParaRPr lang="he-IL" sz="100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31" name="חץ למטה 30"/>
          <p:cNvSpPr/>
          <p:nvPr/>
        </p:nvSpPr>
        <p:spPr>
          <a:xfrm>
            <a:off x="619199" y="2636912"/>
            <a:ext cx="216024" cy="597768"/>
          </a:xfrm>
          <a:prstGeom prst="downArrow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23" name="מחבר ישר 22"/>
          <p:cNvCxnSpPr/>
          <p:nvPr/>
        </p:nvCxnSpPr>
        <p:spPr>
          <a:xfrm>
            <a:off x="462264" y="5445224"/>
            <a:ext cx="82862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16" name="מלבן 15"/>
          <p:cNvSpPr/>
          <p:nvPr/>
        </p:nvSpPr>
        <p:spPr>
          <a:xfrm>
            <a:off x="619198" y="1707662"/>
            <a:ext cx="180020" cy="164424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619199" y="1252445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619199" y="1025474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619199" y="1491638"/>
            <a:ext cx="180020" cy="164424"/>
          </a:xfrm>
          <a:prstGeom prst="rect">
            <a:avLst/>
          </a:prstGeom>
          <a:solidFill>
            <a:srgbClr val="B9D5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78811" y="5445224"/>
            <a:ext cx="8709932" cy="129614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 dirty="0"/>
          </a:p>
        </p:txBody>
      </p:sp>
      <p:sp>
        <p:nvSpPr>
          <p:cNvPr id="5" name="TextBox 4"/>
          <p:cNvSpPr txBox="1"/>
          <p:nvPr/>
        </p:nvSpPr>
        <p:spPr>
          <a:xfrm>
            <a:off x="-149309" y="5437300"/>
            <a:ext cx="1000958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IDF</a:t>
            </a:r>
            <a:endParaRPr lang="he-IL" sz="12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19198" y="6008876"/>
            <a:ext cx="822379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Prison Service;’</a:t>
            </a:r>
            <a:endParaRPr lang="he-IL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269657" y="5450550"/>
            <a:ext cx="755577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Israeli Police</a:t>
            </a:r>
            <a:endParaRPr lang="he-IL" sz="1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613955" y="6042123"/>
            <a:ext cx="875528" cy="4661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Secret Service</a:t>
            </a:r>
            <a:endParaRPr lang="he-IL" sz="12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2341378" y="5434089"/>
            <a:ext cx="792088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Water Company</a:t>
            </a:r>
            <a:endParaRPr lang="he-IL" sz="12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2785661" y="5878439"/>
            <a:ext cx="806173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Israel Airport Authority</a:t>
            </a:r>
            <a:endParaRPr lang="he-IL" sz="12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3550034" y="5393585"/>
            <a:ext cx="588483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HMO-</a:t>
            </a:r>
          </a:p>
          <a:p>
            <a:r>
              <a:rPr lang="en-US" sz="1200" b="1" dirty="0" err="1" smtClean="0"/>
              <a:t>Clallit</a:t>
            </a:r>
            <a:endParaRPr lang="he-IL" sz="12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3452989" y="5800662"/>
            <a:ext cx="1224136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Israel</a:t>
            </a:r>
          </a:p>
          <a:p>
            <a:r>
              <a:rPr lang="en-US" sz="1200" b="1" dirty="0" smtClean="0"/>
              <a:t> Aerospace</a:t>
            </a:r>
          </a:p>
          <a:p>
            <a:r>
              <a:rPr lang="en-US" sz="1200" b="1" dirty="0" smtClean="0"/>
              <a:t> Industries</a:t>
            </a:r>
            <a:endParaRPr lang="he-IL" sz="12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4117943" y="5422375"/>
            <a:ext cx="1032020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err="1" smtClean="0"/>
              <a:t>Elta</a:t>
            </a:r>
            <a:r>
              <a:rPr lang="en-US" sz="1200" b="1" dirty="0" smtClean="0"/>
              <a:t> Industries</a:t>
            </a:r>
            <a:endParaRPr lang="he-IL" sz="12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4507332" y="5868765"/>
            <a:ext cx="1265164" cy="65600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Rafael </a:t>
            </a:r>
          </a:p>
          <a:p>
            <a:r>
              <a:rPr lang="en-US" sz="1200" b="1" dirty="0" smtClean="0"/>
              <a:t>Development Corporation</a:t>
            </a:r>
            <a:endParaRPr lang="he-IL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5139914" y="5397564"/>
            <a:ext cx="1137709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Lottery Company</a:t>
            </a:r>
            <a:endParaRPr lang="he-IL" sz="12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5922007" y="5949171"/>
            <a:ext cx="765987" cy="83099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Israel Security Authorities</a:t>
            </a:r>
            <a:endParaRPr lang="he-IL" sz="12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6545293" y="5455020"/>
            <a:ext cx="792088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Electric Company</a:t>
            </a:r>
            <a:endParaRPr lang="he-IL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6941337" y="5985328"/>
            <a:ext cx="81495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Bank of Israel</a:t>
            </a:r>
            <a:endParaRPr lang="he-IL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7568429" y="5465042"/>
            <a:ext cx="840355" cy="738664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050" b="1" dirty="0" smtClean="0"/>
              <a:t>Units under of the Ministry of Defense</a:t>
            </a:r>
            <a:endParaRPr lang="he-IL" sz="105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8009631" y="6073130"/>
            <a:ext cx="1068294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Haifa Port</a:t>
            </a:r>
            <a:endParaRPr lang="he-IL" sz="1200" b="1" dirty="0"/>
          </a:p>
        </p:txBody>
      </p:sp>
    </p:spTree>
    <p:extLst>
      <p:ext uri="{BB962C8B-B14F-4D97-AF65-F5344CB8AC3E}">
        <p14:creationId xmlns="" xmlns:p14="http://schemas.microsoft.com/office/powerpoint/2010/main" val="41530832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/>
          </p:nvPr>
        </p:nvGraphicFramePr>
        <p:xfrm>
          <a:off x="251520" y="836712"/>
          <a:ext cx="8640960" cy="5832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dirty="0"/>
              <a:t>Percent change in </a:t>
            </a:r>
            <a:r>
              <a:rPr lang="en-US" dirty="0" smtClean="0"/>
              <a:t>Gross Wages </a:t>
            </a:r>
            <a:r>
              <a:rPr lang="en-US" dirty="0"/>
              <a:t>- 2007-2017</a:t>
            </a:r>
            <a:endParaRPr lang="he-IL" dirty="0"/>
          </a:p>
        </p:txBody>
      </p:sp>
      <p:grpSp>
        <p:nvGrpSpPr>
          <p:cNvPr id="4" name="קבוצה 3"/>
          <p:cNvGrpSpPr/>
          <p:nvPr/>
        </p:nvGrpSpPr>
        <p:grpSpPr>
          <a:xfrm>
            <a:off x="6084168" y="701407"/>
            <a:ext cx="1069723" cy="876179"/>
            <a:chOff x="2629811" y="290557"/>
            <a:chExt cx="1906602" cy="1546690"/>
          </a:xfrm>
        </p:grpSpPr>
        <p:pic>
          <p:nvPicPr>
            <p:cNvPr id="5" name="Picture 16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" name="מלבן 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700" b="1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Report of the Supervisor of Wages 2017</a:t>
              </a:r>
              <a:endParaRPr lang="he-IL" sz="700" b="1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337839" y="96443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Public Sector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5898" y="1436900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IDF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37838" y="119675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en-US" sz="1050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</a:rPr>
              <a:t>Security Forces</a:t>
            </a:r>
            <a:endParaRPr lang="he-IL" sz="1050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</a:endParaRPr>
          </a:p>
        </p:txBody>
      </p:sp>
      <p:sp>
        <p:nvSpPr>
          <p:cNvPr id="17" name="מלבן 16"/>
          <p:cNvSpPr/>
          <p:nvPr/>
        </p:nvSpPr>
        <p:spPr>
          <a:xfrm>
            <a:off x="539552" y="949902"/>
            <a:ext cx="1512168" cy="740958"/>
          </a:xfrm>
          <a:prstGeom prst="rect">
            <a:avLst/>
          </a:prstGeom>
          <a:noFill/>
          <a:ln w="19050">
            <a:solidFill>
              <a:schemeClr val="tx1">
                <a:lumMod val="75000"/>
                <a:lumOff val="2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8" name="חץ למטה 17"/>
          <p:cNvSpPr/>
          <p:nvPr/>
        </p:nvSpPr>
        <p:spPr>
          <a:xfrm>
            <a:off x="1547664" y="2636912"/>
            <a:ext cx="216024" cy="597768"/>
          </a:xfrm>
          <a:prstGeom prst="downArrow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-7755532" y="1241877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-6545857" y="1241877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-6250582" y="3905428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5336182" y="1241877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-1764704" y="6777047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8" name="מלבן 7"/>
          <p:cNvSpPr/>
          <p:nvPr/>
        </p:nvSpPr>
        <p:spPr>
          <a:xfrm>
            <a:off x="611560" y="1481689"/>
            <a:ext cx="180020" cy="164424"/>
          </a:xfrm>
          <a:prstGeom prst="rect">
            <a:avLst/>
          </a:prstGeom>
          <a:solidFill>
            <a:srgbClr val="45C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1241877"/>
            <a:ext cx="180020" cy="164424"/>
          </a:xfrm>
          <a:prstGeom prst="rect">
            <a:avLst/>
          </a:prstGeom>
          <a:solidFill>
            <a:srgbClr val="4BAC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611560" y="1009184"/>
            <a:ext cx="180020" cy="164424"/>
          </a:xfrm>
          <a:prstGeom prst="rect">
            <a:avLst/>
          </a:prstGeom>
          <a:solidFill>
            <a:srgbClr val="F79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49388" y="5892626"/>
            <a:ext cx="576064" cy="27699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>
                <a:latin typeface="Lucida Sans" panose="020B0602030504020204" pitchFamily="34" charset="0"/>
              </a:rPr>
              <a:t>IDF</a:t>
            </a:r>
            <a:endParaRPr lang="he-IL" sz="1200" b="1" dirty="0">
              <a:latin typeface="Lucida Sans" panose="020B0602030504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63883" y="5874197"/>
            <a:ext cx="1363394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r>
              <a:rPr lang="en-US" sz="1200" b="1" dirty="0" smtClean="0"/>
              <a:t>Average Gov’t   Companies</a:t>
            </a:r>
          </a:p>
        </p:txBody>
      </p:sp>
    </p:spTree>
    <p:extLst>
      <p:ext uri="{BB962C8B-B14F-4D97-AF65-F5344CB8AC3E}">
        <p14:creationId xmlns="" xmlns:p14="http://schemas.microsoft.com/office/powerpoint/2010/main" val="407494952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תרשים 1"/>
          <p:cNvGraphicFramePr/>
          <p:nvPr>
            <p:extLst/>
          </p:nvPr>
        </p:nvGraphicFramePr>
        <p:xfrm>
          <a:off x="251520" y="836712"/>
          <a:ext cx="8640960" cy="5832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44624"/>
            <a:ext cx="9144000" cy="584775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he-IL">
                <a:ln w="28575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</a:rPr>
              <a:t>אחוז השינוי בשכר ברוטו – 2007-2017</a:t>
            </a:r>
          </a:p>
        </p:txBody>
      </p:sp>
      <p:grpSp>
        <p:nvGrpSpPr>
          <p:cNvPr id="4" name="קבוצה 3"/>
          <p:cNvGrpSpPr/>
          <p:nvPr/>
        </p:nvGrpSpPr>
        <p:grpSpPr>
          <a:xfrm>
            <a:off x="6084168" y="701407"/>
            <a:ext cx="1069723" cy="876179"/>
            <a:chOff x="2629811" y="290557"/>
            <a:chExt cx="1906602" cy="1546690"/>
          </a:xfrm>
        </p:grpSpPr>
        <p:pic>
          <p:nvPicPr>
            <p:cNvPr id="5" name="Picture 16"/>
            <p:cNvPicPr>
              <a:picLocks noChangeAspect="1" noChangeArrowheads="1"/>
            </p:cNvPicPr>
            <p:nvPr/>
          </p:nvPicPr>
          <p:blipFill>
            <a:blip r:embed="rId3" cstate="print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 bwMode="auto">
            <a:xfrm>
              <a:off x="2629811" y="290557"/>
              <a:ext cx="1906602" cy="1546690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</p:pic>
        <p:sp>
          <p:nvSpPr>
            <p:cNvPr id="6" name="מלבן 5"/>
            <p:cNvSpPr/>
            <p:nvPr/>
          </p:nvSpPr>
          <p:spPr>
            <a:xfrm rot="20185314">
              <a:off x="2702486" y="744872"/>
              <a:ext cx="1752724" cy="665875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he-IL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דוח הממונה על </a:t>
              </a:r>
              <a:r>
                <a:rPr lang="en-US" sz="1000" b="1" dirty="0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/>
              </a:r>
              <a:br>
                <a:rPr lang="en-US" sz="1000" b="1" dirty="0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</a:br>
              <a:r>
                <a:rPr lang="he-IL" sz="1000" b="1">
                  <a:ln>
                    <a:solidFill>
                      <a:schemeClr val="bg1">
                        <a:lumMod val="95000"/>
                      </a:schemeClr>
                    </a:solidFill>
                  </a:ln>
                  <a:solidFill>
                    <a:schemeClr val="bg1">
                      <a:lumMod val="9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השכר 2017</a:t>
              </a:r>
            </a:p>
          </p:txBody>
        </p:sp>
      </p:grpSp>
      <p:sp>
        <p:nvSpPr>
          <p:cNvPr id="8" name="מלבן 7"/>
          <p:cNvSpPr/>
          <p:nvPr/>
        </p:nvSpPr>
        <p:spPr>
          <a:xfrm>
            <a:off x="611560" y="1481689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37839" y="964438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מגזר ציבורי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37839" y="1436943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צה"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37838" y="1196752"/>
            <a:ext cx="1713881" cy="2539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>
            <a:defPPr>
              <a:defRPr lang="he-IL"/>
            </a:defPPr>
            <a:lvl1pPr algn="ctr">
              <a:defRPr sz="32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r"/>
            <a:r>
              <a:rPr lang="he-IL" sz="1050">
                <a:ln w="12700">
                  <a:solidFill>
                    <a:schemeClr val="bg1">
                      <a:lumMod val="95000"/>
                    </a:schemeClr>
                  </a:solidFill>
                </a:ln>
                <a:solidFill>
                  <a:schemeClr val="bg1">
                    <a:lumMod val="95000"/>
                  </a:schemeClr>
                </a:solidFill>
              </a:rPr>
              <a:t>גופי ביטחון</a:t>
            </a:r>
          </a:p>
        </p:txBody>
      </p:sp>
      <p:sp>
        <p:nvSpPr>
          <p:cNvPr id="17" name="מלבן 16"/>
          <p:cNvSpPr/>
          <p:nvPr/>
        </p:nvSpPr>
        <p:spPr>
          <a:xfrm>
            <a:off x="539552" y="949902"/>
            <a:ext cx="1512168" cy="740958"/>
          </a:xfrm>
          <a:prstGeom prst="rect">
            <a:avLst/>
          </a:prstGeom>
          <a:noFill/>
          <a:ln w="19050">
            <a:solidFill>
              <a:schemeClr val="bg1">
                <a:lumMod val="85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8" name="חץ למטה 17"/>
          <p:cNvSpPr/>
          <p:nvPr/>
        </p:nvSpPr>
        <p:spPr>
          <a:xfrm>
            <a:off x="1547664" y="2636912"/>
            <a:ext cx="216024" cy="597768"/>
          </a:xfrm>
          <a:prstGeom prst="downArrow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5" name="מלבן 14"/>
          <p:cNvSpPr/>
          <p:nvPr/>
        </p:nvSpPr>
        <p:spPr>
          <a:xfrm>
            <a:off x="-7755532" y="1241877"/>
            <a:ext cx="914400" cy="914400"/>
          </a:xfrm>
          <a:prstGeom prst="rect">
            <a:avLst/>
          </a:prstGeom>
          <a:solidFill>
            <a:srgbClr val="ED4E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9" name="מלבן 18"/>
          <p:cNvSpPr/>
          <p:nvPr/>
        </p:nvSpPr>
        <p:spPr>
          <a:xfrm>
            <a:off x="-6545857" y="1241877"/>
            <a:ext cx="914400" cy="914400"/>
          </a:xfrm>
          <a:prstGeom prst="rect">
            <a:avLst/>
          </a:prstGeom>
          <a:solidFill>
            <a:srgbClr val="4B55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-6250582" y="3905428"/>
            <a:ext cx="914400" cy="914400"/>
          </a:xfrm>
          <a:prstGeom prst="rect">
            <a:avLst/>
          </a:prstGeom>
          <a:solidFill>
            <a:srgbClr val="D3D3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5336182" y="1241877"/>
            <a:ext cx="914400" cy="914400"/>
          </a:xfrm>
          <a:prstGeom prst="rect">
            <a:avLst/>
          </a:prstGeom>
          <a:solidFill>
            <a:srgbClr val="F7AF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2" name="מלבן 21"/>
          <p:cNvSpPr/>
          <p:nvPr/>
        </p:nvSpPr>
        <p:spPr>
          <a:xfrm>
            <a:off x="-1764704" y="6777047"/>
            <a:ext cx="914400" cy="914400"/>
          </a:xfrm>
          <a:prstGeom prst="rect">
            <a:avLst/>
          </a:prstGeom>
          <a:solidFill>
            <a:srgbClr val="3D9F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3" name="מלבן 22"/>
          <p:cNvSpPr/>
          <p:nvPr/>
        </p:nvSpPr>
        <p:spPr>
          <a:xfrm>
            <a:off x="-1764704" y="614541"/>
            <a:ext cx="914400" cy="914400"/>
          </a:xfrm>
          <a:prstGeom prst="rect">
            <a:avLst/>
          </a:prstGeom>
          <a:solidFill>
            <a:srgbClr val="E229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4" name="מלבן 23"/>
          <p:cNvSpPr/>
          <p:nvPr/>
        </p:nvSpPr>
        <p:spPr>
          <a:xfrm>
            <a:off x="-1764704" y="1801991"/>
            <a:ext cx="914400" cy="914400"/>
          </a:xfrm>
          <a:prstGeom prst="rect">
            <a:avLst/>
          </a:prstGeom>
          <a:solidFill>
            <a:srgbClr val="E98F0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5" name="מלבן 24"/>
          <p:cNvSpPr/>
          <p:nvPr/>
        </p:nvSpPr>
        <p:spPr>
          <a:xfrm>
            <a:off x="-1764704" y="5367516"/>
            <a:ext cx="914400" cy="914400"/>
          </a:xfrm>
          <a:prstGeom prst="rect">
            <a:avLst/>
          </a:prstGeom>
          <a:solidFill>
            <a:srgbClr val="294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6" name="מלבן 25"/>
          <p:cNvSpPr/>
          <p:nvPr/>
        </p:nvSpPr>
        <p:spPr>
          <a:xfrm>
            <a:off x="-1764704" y="2991028"/>
            <a:ext cx="914400" cy="914400"/>
          </a:xfrm>
          <a:prstGeom prst="rect">
            <a:avLst/>
          </a:prstGeom>
          <a:solidFill>
            <a:srgbClr val="50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7" name="מלבן 26"/>
          <p:cNvSpPr/>
          <p:nvPr/>
        </p:nvSpPr>
        <p:spPr>
          <a:xfrm>
            <a:off x="-1764704" y="4178478"/>
            <a:ext cx="914400" cy="914400"/>
          </a:xfrm>
          <a:prstGeom prst="rect">
            <a:avLst/>
          </a:prstGeom>
          <a:solidFill>
            <a:srgbClr val="206B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9" name="מלבן 8"/>
          <p:cNvSpPr/>
          <p:nvPr/>
        </p:nvSpPr>
        <p:spPr>
          <a:xfrm>
            <a:off x="611560" y="1241877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7" name="מלבן 6"/>
          <p:cNvSpPr/>
          <p:nvPr/>
        </p:nvSpPr>
        <p:spPr>
          <a:xfrm>
            <a:off x="611560" y="1009184"/>
            <a:ext cx="180020" cy="1644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8" name="מלבן 4"/>
          <p:cNvSpPr/>
          <p:nvPr/>
        </p:nvSpPr>
        <p:spPr bwMode="auto">
          <a:xfrm>
            <a:off x="3024336" y="6669360"/>
            <a:ext cx="5796136" cy="246221"/>
          </a:xfrm>
          <a:prstGeom prst="rect">
            <a:avLst/>
          </a:prstGeom>
          <a:ex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he-IL" sz="1000" b="1">
                <a:ln>
                  <a:solidFill>
                    <a:prstClr val="black"/>
                  </a:solidFill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cs typeface="Segoe UI Semilight" panose="020B0402040204020203" pitchFamily="34" charset="0"/>
                <a:sym typeface="+mn-lt"/>
              </a:rPr>
              <a:t>מקור:  משרד האוצר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0" y="620688"/>
            <a:ext cx="9144000" cy="378565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>
              <a:defRPr/>
            </a:pPr>
            <a:r>
              <a:rPr lang="en-US" sz="8000" b="1" dirty="0" smtClean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Alternative in the public sector pays more</a:t>
            </a:r>
            <a:endParaRPr lang="he-IL" sz="8000" b="1" dirty="0">
              <a:ln w="28575">
                <a:solidFill>
                  <a:srgbClr val="0070C0"/>
                </a:solidFill>
              </a:ln>
              <a:solidFill>
                <a:srgbClr val="0070C0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616111916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1660"/>
            <a:ext cx="9143999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>
              <a:lnSpc>
                <a:spcPct val="150000"/>
              </a:lnSpc>
              <a:defRPr/>
            </a:pPr>
            <a:r>
              <a:rPr lang="en-US" sz="3600" dirty="0" smtClean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reas of </a:t>
            </a:r>
            <a:r>
              <a:rPr lang="en-US" sz="3600" dirty="0">
                <a:ln w="28575">
                  <a:solidFill>
                    <a:schemeClr val="tx1">
                      <a:lumMod val="85000"/>
                      <a:lumOff val="15000"/>
                    </a:schemeClr>
                  </a:solidFill>
                </a:ln>
                <a:solidFill>
                  <a:schemeClr val="tx1">
                    <a:lumMod val="85000"/>
                    <a:lumOff val="15000"/>
                  </a:scheme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ctivity in the economic system</a:t>
            </a:r>
            <a:endParaRPr lang="he-IL" altLang="he-IL" sz="3600" dirty="0">
              <a:ln w="28575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795484" y="1556792"/>
            <a:ext cx="1840412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Information </a:t>
            </a:r>
            <a:r>
              <a:rPr lang="en-US" sz="2000" b="1" dirty="0" smtClean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systems</a:t>
            </a:r>
            <a:endParaRPr lang="he-IL" sz="20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7344314" y="1556792"/>
            <a:ext cx="1799686" cy="1015663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management and control</a:t>
            </a:r>
            <a:endParaRPr lang="he-IL" sz="20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635896" y="1556792"/>
            <a:ext cx="1840411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Resource management</a:t>
            </a:r>
            <a:endParaRPr lang="he-IL" sz="20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5476308" y="1556792"/>
            <a:ext cx="1976012" cy="40011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 smtClean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Efficiency</a:t>
            </a:r>
            <a:endParaRPr lang="he-IL" sz="32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cxnSp>
        <p:nvCxnSpPr>
          <p:cNvPr id="50" name="מחבר ישר 49"/>
          <p:cNvCxnSpPr/>
          <p:nvPr/>
        </p:nvCxnSpPr>
        <p:spPr>
          <a:xfrm flipH="1">
            <a:off x="5499688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מחבר ישר 50"/>
          <p:cNvCxnSpPr/>
          <p:nvPr/>
        </p:nvCxnSpPr>
        <p:spPr>
          <a:xfrm flipH="1">
            <a:off x="3659277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מחבר ישר 51"/>
          <p:cNvCxnSpPr/>
          <p:nvPr/>
        </p:nvCxnSpPr>
        <p:spPr>
          <a:xfrm flipH="1">
            <a:off x="1818866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מחבר ישר 52"/>
          <p:cNvCxnSpPr/>
          <p:nvPr/>
        </p:nvCxnSpPr>
        <p:spPr>
          <a:xfrm flipH="1">
            <a:off x="7340099" y="1485899"/>
            <a:ext cx="0" cy="540000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מחבר ישר 55"/>
          <p:cNvCxnSpPr/>
          <p:nvPr/>
        </p:nvCxnSpPr>
        <p:spPr>
          <a:xfrm flipH="1">
            <a:off x="9180512" y="1485900"/>
            <a:ext cx="0" cy="1763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-21546" y="1556792"/>
            <a:ext cx="1840411" cy="16312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 fontAlgn="auto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Management of </a:t>
            </a:r>
            <a:r>
              <a:rPr lang="en-US" sz="2000" b="1" dirty="0" smtClean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payroll </a:t>
            </a:r>
            <a:r>
              <a:rPr lang="en-US" sz="2000" b="1" dirty="0">
                <a:ln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and manpower budgets</a:t>
            </a:r>
            <a:endParaRPr lang="he-IL" sz="2000" b="1" dirty="0">
              <a:ln>
                <a:solidFill>
                  <a:schemeClr val="tx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62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1767" t="71175"/>
          <a:stretch>
            <a:fillRect/>
          </a:stretch>
        </p:blipFill>
        <p:spPr bwMode="auto">
          <a:xfrm rot="21071618">
            <a:off x="7217902" y="3545040"/>
            <a:ext cx="2472639" cy="237296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088" t="3466" r="68679" b="67709"/>
          <a:stretch>
            <a:fillRect/>
          </a:stretch>
        </p:blipFill>
        <p:spPr bwMode="auto">
          <a:xfrm>
            <a:off x="5046495" y="3375564"/>
            <a:ext cx="2825828" cy="271191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342" t="35863" r="68425" b="35312"/>
          <a:stretch>
            <a:fillRect/>
          </a:stretch>
        </p:blipFill>
        <p:spPr bwMode="auto">
          <a:xfrm>
            <a:off x="3563888" y="3774496"/>
            <a:ext cx="2185661" cy="209755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9254" t="2958" r="2513" b="68217"/>
          <a:stretch>
            <a:fillRect/>
          </a:stretch>
        </p:blipFill>
        <p:spPr bwMode="auto">
          <a:xfrm>
            <a:off x="1456573" y="3489309"/>
            <a:ext cx="2588784" cy="248443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2" descr="C:\Users\U13311\AppData\Local\Microsoft\Windows\Temporary Internet Files\Content.Outlook\7AUJUGK7\408307-big-data-and-web-analytics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4956" t="1128" r="36811" b="70047"/>
          <a:stretch>
            <a:fillRect/>
          </a:stretch>
        </p:blipFill>
        <p:spPr bwMode="auto">
          <a:xfrm>
            <a:off x="-302577" y="3450886"/>
            <a:ext cx="2267775" cy="217636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6" name="מחבר ישר 95"/>
          <p:cNvCxnSpPr/>
          <p:nvPr/>
        </p:nvCxnSpPr>
        <p:spPr>
          <a:xfrm flipH="1">
            <a:off x="-21545" y="1305247"/>
            <a:ext cx="0" cy="176371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80931834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18270" y="116632"/>
            <a:ext cx="9162270" cy="156966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4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The </a:t>
            </a:r>
            <a:r>
              <a:rPr lang="en-US" sz="4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Secret </a:t>
            </a:r>
            <a:r>
              <a:rPr lang="en-US" sz="4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L</a:t>
            </a:r>
            <a:r>
              <a:rPr lang="en-US" sz="4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ies </a:t>
            </a:r>
            <a:r>
              <a:rPr lang="en-US" sz="4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W</a:t>
            </a:r>
            <a:r>
              <a:rPr lang="en-US" sz="48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ithin People </a:t>
            </a:r>
            <a:r>
              <a:rPr lang="en-US" sz="48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...</a:t>
            </a:r>
            <a:endParaRPr lang="he-IL" sz="48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-18270" y="3140968"/>
            <a:ext cx="9162270" cy="1200329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3600" i="1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“Independent </a:t>
            </a:r>
            <a:r>
              <a:rPr lang="en-US" sz="3600" i="1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players get points.</a:t>
            </a:r>
          </a:p>
          <a:p>
            <a:pPr algn="ctr" rtl="0">
              <a:defRPr/>
            </a:pPr>
            <a:r>
              <a:rPr lang="en-US" sz="3600" i="1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  The whole team wins the </a:t>
            </a:r>
            <a:r>
              <a:rPr lang="en-US" sz="3600" i="1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game."</a:t>
            </a:r>
            <a:endParaRPr lang="he-IL" sz="3600" i="1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-18270" y="1556792"/>
            <a:ext cx="9162270" cy="163121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0">
              <a:defRPr/>
            </a:pPr>
            <a:r>
              <a:rPr lang="en-US" sz="3600" i="1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"</a:t>
            </a:r>
            <a:r>
              <a:rPr lang="en-US" sz="3200" i="1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It's easy to find good players.</a:t>
            </a:r>
          </a:p>
          <a:p>
            <a:pPr algn="ctr" rtl="0">
              <a:defRPr/>
            </a:pPr>
            <a:r>
              <a:rPr lang="en-US" sz="3200" i="1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Making them play well together is another story "</a:t>
            </a:r>
            <a:endParaRPr lang="he-IL" sz="3200" i="1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076056" y="4694057"/>
            <a:ext cx="3286125" cy="168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9993" y="4694057"/>
            <a:ext cx="3425983" cy="1687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00253814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952267"/>
            <a:ext cx="9144000" cy="4708981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15000" b="1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Looking Ahead</a:t>
            </a:r>
            <a:endParaRPr lang="he-IL" sz="15000" b="1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86065012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692696"/>
            <a:ext cx="9144000" cy="6001643"/>
          </a:xfrm>
          <a:prstGeom prst="rect">
            <a:avLst/>
          </a:prstGeom>
          <a:noFill/>
        </p:spPr>
        <p:txBody>
          <a:bodyPr rtlCol="1">
            <a:spAutoFit/>
          </a:bodyPr>
          <a:lstStyle/>
          <a:p>
            <a:pPr algn="ctr">
              <a:defRPr/>
            </a:pPr>
            <a:r>
              <a:rPr lang="en-US" sz="9600" b="1" dirty="0" smtClean="0">
                <a:ln w="12700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Looking Towards a New Budget Summary?</a:t>
            </a:r>
            <a:endParaRPr lang="he-IL" sz="9600" b="1" dirty="0">
              <a:ln w="12700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2052736" y="5281591"/>
            <a:ext cx="936104" cy="934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962995718"/>
      </p:ext>
    </p:extLst>
  </p:cSld>
  <p:clrMapOvr>
    <a:masterClrMapping/>
  </p:clrMapOvr>
  <p:transition/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-180531" y="-66542"/>
            <a:ext cx="9433048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b="1" dirty="0"/>
              <a:t>Game </a:t>
            </a:r>
            <a:r>
              <a:rPr lang="en-US" sz="2400" b="1" dirty="0" smtClean="0"/>
              <a:t>Theory in </a:t>
            </a:r>
            <a:r>
              <a:rPr lang="en-US" sz="2400" b="1" dirty="0"/>
              <a:t>the </a:t>
            </a:r>
            <a:r>
              <a:rPr lang="en-US" sz="2400" b="1" dirty="0" smtClean="0"/>
              <a:t>Security Service - A New Agreement</a:t>
            </a:r>
            <a:r>
              <a:rPr lang="en-US" sz="2400" b="1" dirty="0"/>
              <a:t>?</a:t>
            </a:r>
            <a:endParaRPr lang="he-IL" sz="2400" b="1" dirty="0"/>
          </a:p>
        </p:txBody>
      </p:sp>
      <p:pic>
        <p:nvPicPr>
          <p:cNvPr id="3" name="Picture 5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049" y="488204"/>
            <a:ext cx="551893" cy="62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7595996" y="3932849"/>
            <a:ext cx="576486" cy="5759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מלבן 4"/>
          <p:cNvSpPr/>
          <p:nvPr/>
        </p:nvSpPr>
        <p:spPr>
          <a:xfrm>
            <a:off x="2015996" y="1700808"/>
            <a:ext cx="5040000" cy="5040000"/>
          </a:xfrm>
          <a:prstGeom prst="rect">
            <a:avLst/>
          </a:prstGeom>
          <a:noFill/>
          <a:ln w="762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7" name="מחבר ישר 6"/>
          <p:cNvCxnSpPr>
            <a:stCxn id="5" idx="0"/>
            <a:endCxn id="5" idx="2"/>
          </p:cNvCxnSpPr>
          <p:nvPr/>
        </p:nvCxnSpPr>
        <p:spPr>
          <a:xfrm flipH="1">
            <a:off x="4535996" y="1700808"/>
            <a:ext cx="0" cy="50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7"/>
          <p:cNvCxnSpPr/>
          <p:nvPr/>
        </p:nvCxnSpPr>
        <p:spPr>
          <a:xfrm flipH="1">
            <a:off x="2015996" y="4220808"/>
            <a:ext cx="50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 flipH="1">
            <a:off x="7055996" y="4220808"/>
            <a:ext cx="5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מחבר ישר 14"/>
          <p:cNvCxnSpPr/>
          <p:nvPr/>
        </p:nvCxnSpPr>
        <p:spPr>
          <a:xfrm flipH="1" flipV="1">
            <a:off x="4535996" y="1160808"/>
            <a:ext cx="0" cy="5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כותרת 1"/>
          <p:cNvSpPr txBox="1"/>
          <p:nvPr/>
        </p:nvSpPr>
        <p:spPr>
          <a:xfrm>
            <a:off x="4572000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In Favor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8" name="כותרת 1"/>
          <p:cNvSpPr txBox="1"/>
          <p:nvPr/>
        </p:nvSpPr>
        <p:spPr>
          <a:xfrm>
            <a:off x="2048882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Against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9" name="כותרת 1"/>
          <p:cNvSpPr txBox="1"/>
          <p:nvPr/>
        </p:nvSpPr>
        <p:spPr>
          <a:xfrm>
            <a:off x="6874527" y="1680684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In Favor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1" name="כותרת 1"/>
          <p:cNvSpPr txBox="1"/>
          <p:nvPr/>
        </p:nvSpPr>
        <p:spPr>
          <a:xfrm>
            <a:off x="6863825" y="4193606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Against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71583" y="3188091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3949" y="4114373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כותרת 1"/>
          <p:cNvSpPr txBox="1"/>
          <p:nvPr/>
        </p:nvSpPr>
        <p:spPr>
          <a:xfrm>
            <a:off x="2084887" y="5142209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Everyone Loses</a:t>
            </a:r>
            <a:endParaRPr lang="en-US" sz="40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8" name="כותרת 1"/>
          <p:cNvSpPr txBox="1"/>
          <p:nvPr/>
        </p:nvSpPr>
        <p:spPr>
          <a:xfrm>
            <a:off x="2048880" y="3074114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No Agreement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11944" y="1797338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כותרת 1"/>
          <p:cNvSpPr txBox="1"/>
          <p:nvPr/>
        </p:nvSpPr>
        <p:spPr>
          <a:xfrm>
            <a:off x="4561281" y="5157192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No Agreement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3288" y="3429055"/>
            <a:ext cx="785245" cy="76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="" xmlns:a14="http://schemas.microsoft.com/office/drawing/2010/main">
                  <a14:imgLayer r:embed="rId11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63197" y="4384081"/>
            <a:ext cx="967498" cy="87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691" y="1803785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=""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4522" y="5875684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BEBA8EAE-BF5A-486C-A8C5-ECC9F3942E4B}">
                <a14:imgProps xmlns=""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8871" y="4246511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כותרת 1"/>
          <p:cNvSpPr txBox="1"/>
          <p:nvPr/>
        </p:nvSpPr>
        <p:spPr>
          <a:xfrm>
            <a:off x="4561282" y="3068960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Win-Win</a:t>
            </a:r>
          </a:p>
          <a:p>
            <a:pPr>
              <a:defRPr/>
            </a:pPr>
            <a:r>
              <a:rPr lang="en-US" dirty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ituation</a:t>
            </a:r>
            <a:endParaRPr lang="he-IL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Georgia" panose="02040502050405020303" pitchFamily="18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6103228"/>
      </p:ext>
    </p:extLst>
  </p:cSld>
  <p:clrMapOvr>
    <a:masterClrMapping/>
  </p:clrMapOvr>
  <p:transition/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-180531" y="-46525"/>
            <a:ext cx="9433048" cy="6001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rtl="0"/>
            <a:r>
              <a:rPr lang="en-US" sz="2400" b="1" dirty="0"/>
              <a:t>Game Theory in the Security Service - A New Agreement?</a:t>
            </a:r>
            <a:endParaRPr lang="he-IL" sz="2400" b="1" dirty="0"/>
          </a:p>
        </p:txBody>
      </p:sp>
      <p:pic>
        <p:nvPicPr>
          <p:cNvPr id="3" name="Picture 5" descr="image00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260049" y="488204"/>
            <a:ext cx="551893" cy="62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29" descr="Y:\תמונות למצגת\סמלים\לוגו משהבט רקע ריק.pn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7595996" y="3932849"/>
            <a:ext cx="576486" cy="57591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מלבן 4"/>
          <p:cNvSpPr/>
          <p:nvPr/>
        </p:nvSpPr>
        <p:spPr>
          <a:xfrm>
            <a:off x="2015996" y="1700808"/>
            <a:ext cx="5040000" cy="5040000"/>
          </a:xfrm>
          <a:prstGeom prst="rect">
            <a:avLst/>
          </a:prstGeom>
          <a:noFill/>
          <a:ln w="7620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cxnSp>
        <p:nvCxnSpPr>
          <p:cNvPr id="7" name="מחבר ישר 6"/>
          <p:cNvCxnSpPr>
            <a:stCxn id="5" idx="0"/>
            <a:endCxn id="5" idx="2"/>
          </p:cNvCxnSpPr>
          <p:nvPr/>
        </p:nvCxnSpPr>
        <p:spPr>
          <a:xfrm flipH="1">
            <a:off x="4535996" y="1700808"/>
            <a:ext cx="0" cy="50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מחבר ישר 7"/>
          <p:cNvCxnSpPr/>
          <p:nvPr/>
        </p:nvCxnSpPr>
        <p:spPr>
          <a:xfrm flipH="1">
            <a:off x="2015996" y="4220808"/>
            <a:ext cx="50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מחבר ישר 9"/>
          <p:cNvCxnSpPr/>
          <p:nvPr/>
        </p:nvCxnSpPr>
        <p:spPr>
          <a:xfrm flipH="1">
            <a:off x="7055996" y="4220808"/>
            <a:ext cx="540000" cy="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מחבר ישר 14"/>
          <p:cNvCxnSpPr/>
          <p:nvPr/>
        </p:nvCxnSpPr>
        <p:spPr>
          <a:xfrm flipH="1" flipV="1">
            <a:off x="4535996" y="1160808"/>
            <a:ext cx="0" cy="540000"/>
          </a:xfrm>
          <a:prstGeom prst="line">
            <a:avLst/>
          </a:prstGeom>
          <a:ln w="57150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כותרת 1"/>
          <p:cNvSpPr txBox="1"/>
          <p:nvPr/>
        </p:nvSpPr>
        <p:spPr>
          <a:xfrm>
            <a:off x="4572000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In Favor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8" name="כותרת 1"/>
          <p:cNvSpPr txBox="1"/>
          <p:nvPr/>
        </p:nvSpPr>
        <p:spPr>
          <a:xfrm>
            <a:off x="2048882" y="1129898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Against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19" name="כותרת 1"/>
          <p:cNvSpPr txBox="1"/>
          <p:nvPr/>
        </p:nvSpPr>
        <p:spPr>
          <a:xfrm>
            <a:off x="6874527" y="1680684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In Favor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1" name="כותרת 1"/>
          <p:cNvSpPr txBox="1"/>
          <p:nvPr/>
        </p:nvSpPr>
        <p:spPr>
          <a:xfrm>
            <a:off x="6863825" y="4193606"/>
            <a:ext cx="902937" cy="2540124"/>
          </a:xfrm>
          <a:prstGeom prst="rect">
            <a:avLst/>
          </a:prstGeom>
          <a:extLst/>
        </p:spPr>
        <p:txBody>
          <a:bodyPr vert="vert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Against</a:t>
            </a:r>
            <a:endParaRPr lang="he-IL" sz="3200" dirty="0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271583" y="3188091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3949" y="4114373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כותרת 1"/>
          <p:cNvSpPr txBox="1"/>
          <p:nvPr/>
        </p:nvSpPr>
        <p:spPr>
          <a:xfrm>
            <a:off x="4561282" y="3068960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dirty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Win-Win</a:t>
            </a:r>
          </a:p>
          <a:p>
            <a:pPr>
              <a:defRPr/>
            </a:pPr>
            <a:r>
              <a:rPr lang="en-US" dirty="0">
                <a:ln w="19050">
                  <a:solidFill>
                    <a:prstClr val="black"/>
                  </a:solidFill>
                </a:ln>
                <a:solidFill>
                  <a:prstClr val="black"/>
                </a:solidFill>
                <a:latin typeface="Georgia" panose="02040502050405020303" pitchFamily="18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Situation</a:t>
            </a:r>
            <a:endParaRPr lang="he-IL">
              <a:ln w="19050">
                <a:solidFill>
                  <a:prstClr val="black"/>
                </a:solidFill>
              </a:ln>
              <a:solidFill>
                <a:prstClr val="black"/>
              </a:solidFill>
              <a:latin typeface="Georgia" panose="02040502050405020303" pitchFamily="18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7" name="כותרת 1"/>
          <p:cNvSpPr txBox="1"/>
          <p:nvPr/>
        </p:nvSpPr>
        <p:spPr>
          <a:xfrm>
            <a:off x="2084887" y="5142209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4000" dirty="0" smtClean="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Everyone Loses</a:t>
            </a:r>
            <a:endParaRPr lang="he-IL" sz="4000" dirty="0">
              <a:ln w="19050">
                <a:solidFill>
                  <a:schemeClr val="bg1">
                    <a:lumMod val="85000"/>
                  </a:schemeClr>
                </a:solidFill>
              </a:ln>
              <a:solidFill>
                <a:schemeClr val="bg1">
                  <a:lumMod val="85000"/>
                </a:schemeClr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sp>
        <p:nvSpPr>
          <p:cNvPr id="28" name="כותרת 1"/>
          <p:cNvSpPr txBox="1"/>
          <p:nvPr/>
        </p:nvSpPr>
        <p:spPr>
          <a:xfrm>
            <a:off x="2048880" y="3074114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>
              <a:defRPr/>
            </a:pPr>
            <a:r>
              <a:rPr lang="en-US" sz="3200" dirty="0" smtClean="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No Agreement</a:t>
            </a:r>
            <a:endParaRPr lang="he-IL" sz="3200" dirty="0">
              <a:ln w="19050">
                <a:solidFill>
                  <a:schemeClr val="bg1">
                    <a:lumMod val="85000"/>
                  </a:schemeClr>
                </a:solidFill>
              </a:ln>
              <a:solidFill>
                <a:schemeClr val="bg1">
                  <a:lumMod val="85000"/>
                </a:schemeClr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29" name="Picture 2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rId7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35671" y="1797538"/>
            <a:ext cx="1632997" cy="1474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כותרת 1"/>
          <p:cNvSpPr txBox="1"/>
          <p:nvPr/>
        </p:nvSpPr>
        <p:spPr>
          <a:xfrm>
            <a:off x="4532879" y="5230385"/>
            <a:ext cx="2487113" cy="642918"/>
          </a:xfrm>
          <a:prstGeom prst="rect">
            <a:avLst/>
          </a:prstGeom>
          <a:extLst/>
        </p:spPr>
        <p:txBody>
          <a:bodyPr vert="horz" lIns="91440" tIns="45720" rIns="91440" bIns="45720" rtlCol="1" anchor="ctr">
            <a:noAutofit/>
          </a:bodyPr>
          <a:lstStyle>
            <a:lvl1pPr algn="ctr" defTabSz="914400" rtl="1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 smtClean="0">
                <a:ln w="19050">
                  <a:solidFill>
                    <a:schemeClr val="bg1">
                      <a:lumMod val="85000"/>
                    </a:schemeClr>
                  </a:solidFill>
                </a:ln>
                <a:solidFill>
                  <a:schemeClr val="bg1">
                    <a:lumMod val="85000"/>
                  </a:schemeClr>
                </a:solidFill>
                <a:latin typeface="Lucida Sans Unicode" panose="020B0602030504020204" pitchFamily="34" charset="0"/>
                <a:ea typeface="Microsoft YaHei" panose="020B0503020204020204" pitchFamily="34" charset="-122"/>
                <a:cs typeface="Lucida Sans Unicode" panose="020B0602030504020204" pitchFamily="34" charset="0"/>
              </a:rPr>
              <a:t>No Agreement</a:t>
            </a:r>
            <a:endParaRPr lang="he-IL" sz="3200" dirty="0">
              <a:ln w="19050">
                <a:solidFill>
                  <a:schemeClr val="bg1">
                    <a:lumMod val="85000"/>
                  </a:schemeClr>
                </a:solidFill>
              </a:ln>
              <a:solidFill>
                <a:schemeClr val="bg1">
                  <a:lumMod val="85000"/>
                </a:schemeClr>
              </a:solidFill>
              <a:latin typeface="Lucida Sans Unicode" panose="020B0602030504020204" pitchFamily="34" charset="0"/>
              <a:ea typeface="Microsoft YaHei" panose="020B0503020204020204" pitchFamily="34" charset="-122"/>
              <a:cs typeface="Lucida Sans Unicode" panose="020B0602030504020204" pitchFamily="34" charset="0"/>
            </a:endParaRPr>
          </a:p>
        </p:txBody>
      </p:sp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353288" y="3429055"/>
            <a:ext cx="785245" cy="766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="" xmlns:a14="http://schemas.microsoft.com/office/drawing/2010/main">
                  <a14:imgLayer r:embed="rId11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63197" y="4384081"/>
            <a:ext cx="967498" cy="873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="" xmlns:a14="http://schemas.microsoft.com/office/drawing/2010/main">
                  <a14:imgLayer r:embed="rId5">
                    <a14:imgEffect>
                      <a14:backgroundRemoval t="4688" b="93359" l="3053" r="9313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691" y="1803785"/>
            <a:ext cx="1317730" cy="1286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2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014522" y="5875684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="" xmlns:a14="http://schemas.microsoft.com/office/drawing/2010/main">
                  <a14:imgLayer r:embed="rId13">
                    <a14:imgEffect>
                      <a14:backgroundRemoval t="5068" b="89865" l="9756" r="94817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08871" y="4246511"/>
            <a:ext cx="1272139" cy="1148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אליפסה 5"/>
          <p:cNvSpPr/>
          <p:nvPr/>
        </p:nvSpPr>
        <p:spPr>
          <a:xfrm>
            <a:off x="3851920" y="980728"/>
            <a:ext cx="3940680" cy="3903678"/>
          </a:xfrm>
          <a:prstGeom prst="ellipse">
            <a:avLst/>
          </a:prstGeom>
          <a:noFill/>
          <a:ln w="2286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</p:spTree>
    <p:extLst>
      <p:ext uri="{BB962C8B-B14F-4D97-AF65-F5344CB8AC3E}">
        <p14:creationId xmlns="" xmlns:p14="http://schemas.microsoft.com/office/powerpoint/2010/main" val="3719505910"/>
      </p:ext>
    </p:extLst>
  </p:cSld>
  <p:clrMapOvr>
    <a:masterClrMapping/>
  </p:clrMapOvr>
  <p:transition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מלבן 7"/>
          <p:cNvSpPr/>
          <p:nvPr/>
        </p:nvSpPr>
        <p:spPr>
          <a:xfrm>
            <a:off x="1075739" y="836713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5496" y="908720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</a:t>
            </a:r>
            <a:r>
              <a:rPr lang="en-US" sz="2400" b="1" dirty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dget That Allows for the IDF to Win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9" name="קבוצה 8"/>
          <p:cNvGrpSpPr/>
          <p:nvPr/>
        </p:nvGrpSpPr>
        <p:grpSpPr>
          <a:xfrm>
            <a:off x="6850490" y="836713"/>
            <a:ext cx="1642074" cy="632856"/>
            <a:chOff x="7526215" y="651302"/>
            <a:chExt cx="1980601" cy="2057617"/>
          </a:xfrm>
          <a:effectLst/>
        </p:grpSpPr>
        <p:sp>
          <p:nvSpPr>
            <p:cNvPr id="10" name="מחומש 9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11" name="מלבן 10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12" name="מלבן 11"/>
          <p:cNvSpPr/>
          <p:nvPr/>
        </p:nvSpPr>
        <p:spPr>
          <a:xfrm>
            <a:off x="1075739" y="1571265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496" y="1628800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dget Stability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9" name="מחומש 18"/>
          <p:cNvSpPr/>
          <p:nvPr/>
        </p:nvSpPr>
        <p:spPr>
          <a:xfrm rot="10800000">
            <a:off x="6952568" y="1571264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20" name="מלבן 19"/>
          <p:cNvSpPr/>
          <p:nvPr/>
        </p:nvSpPr>
        <p:spPr>
          <a:xfrm>
            <a:off x="1075739" y="2348880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5496" y="2420887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 </a:t>
            </a: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udget That Enables Long-Term Planning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0" name="קבוצה 29"/>
          <p:cNvGrpSpPr/>
          <p:nvPr/>
        </p:nvGrpSpPr>
        <p:grpSpPr>
          <a:xfrm>
            <a:off x="6850490" y="2348880"/>
            <a:ext cx="1642074" cy="632856"/>
            <a:chOff x="7526215" y="651302"/>
            <a:chExt cx="1980601" cy="2057617"/>
          </a:xfrm>
          <a:effectLst/>
        </p:grpSpPr>
        <p:sp>
          <p:nvSpPr>
            <p:cNvPr id="31" name="מחומש 30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32" name="מלבן 31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33" name="מלבן 32"/>
          <p:cNvSpPr/>
          <p:nvPr/>
        </p:nvSpPr>
        <p:spPr>
          <a:xfrm>
            <a:off x="1075739" y="3083432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5496" y="3140967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mbodies Benefits to the Economy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35" name="מחומש 34"/>
          <p:cNvSpPr/>
          <p:nvPr/>
        </p:nvSpPr>
        <p:spPr>
          <a:xfrm rot="10800000">
            <a:off x="6952568" y="3083431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36" name="מלבן 35"/>
          <p:cNvSpPr/>
          <p:nvPr/>
        </p:nvSpPr>
        <p:spPr>
          <a:xfrm>
            <a:off x="1075739" y="3861049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5496" y="3933054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ttractiveness of IDF Service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38" name="קבוצה 37"/>
          <p:cNvGrpSpPr/>
          <p:nvPr/>
        </p:nvGrpSpPr>
        <p:grpSpPr>
          <a:xfrm>
            <a:off x="6850490" y="3861049"/>
            <a:ext cx="1642074" cy="632856"/>
            <a:chOff x="7526215" y="651302"/>
            <a:chExt cx="1980601" cy="2057617"/>
          </a:xfrm>
          <a:effectLst/>
        </p:grpSpPr>
        <p:sp>
          <p:nvSpPr>
            <p:cNvPr id="39" name="מחומש 38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40" name="מלבן 39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41" name="מלבן 40"/>
          <p:cNvSpPr/>
          <p:nvPr/>
        </p:nvSpPr>
        <p:spPr>
          <a:xfrm>
            <a:off x="1075739" y="4595601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35496" y="4653134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e Public’s Trust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3" name="מחומש 42"/>
          <p:cNvSpPr/>
          <p:nvPr/>
        </p:nvSpPr>
        <p:spPr>
          <a:xfrm rot="10800000">
            <a:off x="6952568" y="4595600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44" name="מלבן 43"/>
          <p:cNvSpPr/>
          <p:nvPr/>
        </p:nvSpPr>
        <p:spPr>
          <a:xfrm>
            <a:off x="1075739" y="5373216"/>
            <a:ext cx="6475399" cy="632858"/>
          </a:xfrm>
          <a:prstGeom prst="rect">
            <a:avLst/>
          </a:prstGeom>
          <a:solidFill>
            <a:srgbClr val="29AAE3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5496" y="5445221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thout </a:t>
            </a: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ilateral Decisions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grpSp>
        <p:nvGrpSpPr>
          <p:cNvPr id="46" name="קבוצה 45"/>
          <p:cNvGrpSpPr/>
          <p:nvPr/>
        </p:nvGrpSpPr>
        <p:grpSpPr>
          <a:xfrm>
            <a:off x="6850490" y="5373216"/>
            <a:ext cx="1642074" cy="632856"/>
            <a:chOff x="7526215" y="651302"/>
            <a:chExt cx="1980601" cy="2057617"/>
          </a:xfrm>
          <a:effectLst/>
        </p:grpSpPr>
        <p:sp>
          <p:nvSpPr>
            <p:cNvPr id="47" name="מחומש 46"/>
            <p:cNvSpPr/>
            <p:nvPr/>
          </p:nvSpPr>
          <p:spPr>
            <a:xfrm rot="10800000">
              <a:off x="7649340" y="651302"/>
              <a:ext cx="1443935" cy="2057617"/>
            </a:xfrm>
            <a:prstGeom prst="homePlate">
              <a:avLst>
                <a:gd name="adj" fmla="val 50000"/>
              </a:avLst>
            </a:prstGeom>
            <a:solidFill>
              <a:srgbClr val="29AAE3"/>
            </a:solidFill>
            <a:ln w="12700" cap="flat">
              <a:noFill/>
              <a:prstDash val="solid"/>
              <a:miter lim="800000"/>
              <a:headEnd type="none" w="med" len="med"/>
              <a:tailEnd type="none" w="med" len="med"/>
            </a:ln>
            <a:effectLst>
              <a:outerShdw blurRad="50800" dist="38100" dir="2700000" algn="tl">
                <a:srgbClr val="000000">
                  <a:alpha val="39999"/>
                </a:srgbClr>
              </a:outerShdw>
            </a:effectLst>
          </p:spPr>
          <p:txBody>
            <a:bodyPr anchor="ctr" anchorCtr="0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>
                <a:solidFill>
                  <a:srgbClr val="000000"/>
                </a:solidFill>
              </a:endParaRPr>
            </a:p>
          </p:txBody>
        </p:sp>
        <p:sp>
          <p:nvSpPr>
            <p:cNvPr id="48" name="מלבן 47">
              <a:hlinkClick r:id="" action="ppaction://noaction"/>
            </p:cNvPr>
            <p:cNvSpPr/>
            <p:nvPr/>
          </p:nvSpPr>
          <p:spPr>
            <a:xfrm>
              <a:off x="7526215" y="1279263"/>
              <a:ext cx="1980601" cy="523875"/>
            </a:xfrm>
            <a:prstGeom prst="rect">
              <a:avLst/>
            </a:prstGeom>
            <a:noFill/>
            <a:ln cap="flat">
              <a:noFill/>
              <a:prstDash val="solid"/>
              <a:miter lim="1000000"/>
              <a:headEnd type="none" w="med" len="med"/>
              <a:tailEnd type="none" w="med" len="med"/>
            </a:ln>
            <a:effectLst/>
          </p:spPr>
          <p:txBody>
            <a:bodyPr wrap="square"/>
            <a:lstStyle>
              <a:lvl1pPr marL="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1pPr>
              <a:lvl2pPr marL="4572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2pPr>
              <a:lvl3pPr marL="9144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3pPr>
              <a:lvl4pPr marL="13716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4pPr>
              <a:lvl5pPr marL="1828800" indent="0" algn="r" defTabSz="914400" rtl="1" eaLnBrk="1" hangingPunct="1">
                <a:defRPr sz="1800">
                  <a:solidFill>
                    <a:schemeClr val="tx1"/>
                  </a:solidFill>
                  <a:effectLst/>
                  <a:latin typeface="+mn-lt"/>
                  <a:ea typeface="+mn-ea"/>
                </a:defRPr>
              </a:lvl5pPr>
            </a:lstStyle>
            <a:p>
              <a:pPr algn="ctr"/>
              <a:endParaRPr lang="he-IL" altLang="en-US" sz="3200" b="1">
                <a:ln w="19050">
                  <a:solidFill>
                    <a:srgbClr val="FFFFFF"/>
                  </a:solidFill>
                </a:ln>
                <a:solidFill>
                  <a:srgbClr val="FFFFFF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endParaRPr>
            </a:p>
          </p:txBody>
        </p:sp>
      </p:grpSp>
      <p:sp>
        <p:nvSpPr>
          <p:cNvPr id="49" name="מלבן 48"/>
          <p:cNvSpPr/>
          <p:nvPr/>
        </p:nvSpPr>
        <p:spPr>
          <a:xfrm>
            <a:off x="1075739" y="6107768"/>
            <a:ext cx="6475399" cy="633600"/>
          </a:xfrm>
          <a:prstGeom prst="rect">
            <a:avLst/>
          </a:prstGeom>
          <a:solidFill>
            <a:srgbClr val="D9E021">
              <a:alpha val="1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srgbClr val="FFFFFF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496" y="6165301"/>
            <a:ext cx="6864211" cy="461665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>
              <a:defRPr/>
            </a:pP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lative Quiet </a:t>
            </a:r>
            <a:r>
              <a:rPr lang="en-US" sz="2400" b="1" dirty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 the </a:t>
            </a:r>
            <a:r>
              <a:rPr lang="en-US" sz="2400" b="1" dirty="0" smtClean="0">
                <a:ln w="6350">
                  <a:solidFill>
                    <a:srgbClr val="000000"/>
                  </a:solidFill>
                </a:ln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edia</a:t>
            </a:r>
            <a:endParaRPr lang="he-IL" sz="2400" b="1" dirty="0">
              <a:ln w="6350">
                <a:solidFill>
                  <a:srgbClr val="000000"/>
                </a:solidFill>
              </a:ln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51" name="מחומש 50"/>
          <p:cNvSpPr/>
          <p:nvPr/>
        </p:nvSpPr>
        <p:spPr>
          <a:xfrm rot="10800000">
            <a:off x="6952568" y="6107767"/>
            <a:ext cx="1197139" cy="633600"/>
          </a:xfrm>
          <a:prstGeom prst="homePlate">
            <a:avLst>
              <a:gd name="adj" fmla="val 50000"/>
            </a:avLst>
          </a:prstGeom>
          <a:solidFill>
            <a:srgbClr val="D9E021"/>
          </a:solidFill>
          <a:ln w="127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50800" dist="38100" dir="2700000" algn="tl">
              <a:srgbClr val="000000">
                <a:alpha val="39999"/>
              </a:srgbClr>
            </a:outerShdw>
          </a:effectLst>
        </p:spPr>
        <p:txBody>
          <a:bodyPr anchor="ctr" anchorCtr="0"/>
          <a:lstStyle/>
          <a:p>
            <a:pPr algn="ctr"/>
            <a:endParaRPr lang="he-IL" altLang="en-US">
              <a:solidFill>
                <a:srgbClr val="000000"/>
              </a:solidFill>
              <a:ea typeface="+mn-ea"/>
            </a:endParaRPr>
          </a:p>
        </p:txBody>
      </p:sp>
      <p:sp>
        <p:nvSpPr>
          <p:cNvPr id="52" name="כותרת 2"/>
          <p:cNvSpPr txBox="1"/>
          <p:nvPr/>
        </p:nvSpPr>
        <p:spPr>
          <a:xfrm>
            <a:off x="-180528" y="-76745"/>
            <a:ext cx="9433048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200" dirty="0" smtClean="0"/>
              <a:t>The Target of the Budget Summary</a:t>
            </a:r>
            <a:endParaRPr lang="he-IL" sz="3200" dirty="0"/>
          </a:p>
        </p:txBody>
      </p:sp>
    </p:spTree>
    <p:extLst>
      <p:ext uri="{BB962C8B-B14F-4D97-AF65-F5344CB8AC3E}">
        <p14:creationId xmlns="" xmlns:p14="http://schemas.microsoft.com/office/powerpoint/2010/main" val="1273371553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כותרת 2"/>
          <p:cNvSpPr txBox="1"/>
          <p:nvPr/>
        </p:nvSpPr>
        <p:spPr>
          <a:xfrm>
            <a:off x="-180528" y="-99392"/>
            <a:ext cx="9433048" cy="133113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800" dirty="0"/>
              <a:t>Budget </a:t>
            </a:r>
            <a:r>
              <a:rPr lang="en-US" sz="2800" dirty="0" smtClean="0"/>
              <a:t>Summary </a:t>
            </a:r>
            <a:r>
              <a:rPr lang="en-US" sz="2800" dirty="0"/>
              <a:t>- </a:t>
            </a:r>
            <a:r>
              <a:rPr lang="en-US" sz="2800" dirty="0" smtClean="0"/>
              <a:t>What Content Worlds Do We Have</a:t>
            </a:r>
            <a:r>
              <a:rPr lang="en-US" sz="2800" dirty="0"/>
              <a:t>?</a:t>
            </a:r>
            <a:endParaRPr lang="he-IL" sz="2800" dirty="0"/>
          </a:p>
        </p:txBody>
      </p:sp>
      <p:sp>
        <p:nvSpPr>
          <p:cNvPr id="16" name="אקורד 4"/>
          <p:cNvSpPr/>
          <p:nvPr/>
        </p:nvSpPr>
        <p:spPr>
          <a:xfrm>
            <a:off x="9612560" y="635397"/>
            <a:ext cx="1728192" cy="1656184"/>
          </a:xfrm>
          <a:prstGeom prst="chord">
            <a:avLst>
              <a:gd name="adj1" fmla="val 4907429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17" name="אליפסה 6"/>
          <p:cNvSpPr/>
          <p:nvPr/>
        </p:nvSpPr>
        <p:spPr>
          <a:xfrm>
            <a:off x="10908704" y="3300911"/>
            <a:ext cx="2232000" cy="22322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1" name="אקורד 4"/>
          <p:cNvSpPr/>
          <p:nvPr/>
        </p:nvSpPr>
        <p:spPr>
          <a:xfrm rot="10800000">
            <a:off x="9631355" y="635397"/>
            <a:ext cx="1728192" cy="1656184"/>
          </a:xfrm>
          <a:prstGeom prst="chord">
            <a:avLst>
              <a:gd name="adj1" fmla="val 4907429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2" name="אקורד 4"/>
          <p:cNvSpPr/>
          <p:nvPr/>
        </p:nvSpPr>
        <p:spPr>
          <a:xfrm>
            <a:off x="9828584" y="5913277"/>
            <a:ext cx="1728192" cy="1656184"/>
          </a:xfrm>
          <a:prstGeom prst="chord">
            <a:avLst>
              <a:gd name="adj1" fmla="val 5130046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sp>
        <p:nvSpPr>
          <p:cNvPr id="24" name="אקורד 4"/>
          <p:cNvSpPr/>
          <p:nvPr/>
        </p:nvSpPr>
        <p:spPr>
          <a:xfrm rot="10800000">
            <a:off x="9828584" y="5913277"/>
            <a:ext cx="1728192" cy="1656184"/>
          </a:xfrm>
          <a:prstGeom prst="chord">
            <a:avLst>
              <a:gd name="adj1" fmla="val 5130046"/>
              <a:gd name="adj2" fmla="val 16019223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/>
          </a:p>
        </p:txBody>
      </p:sp>
      <p:grpSp>
        <p:nvGrpSpPr>
          <p:cNvPr id="27" name="קבוצה 26"/>
          <p:cNvGrpSpPr/>
          <p:nvPr/>
        </p:nvGrpSpPr>
        <p:grpSpPr>
          <a:xfrm rot="18598656">
            <a:off x="297749" y="3995099"/>
            <a:ext cx="2340000" cy="2340000"/>
            <a:chOff x="3671900" y="1700808"/>
            <a:chExt cx="1728192" cy="1656184"/>
          </a:xfrm>
        </p:grpSpPr>
        <p:sp>
          <p:nvSpPr>
            <p:cNvPr id="25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EB6E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26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538E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28" name="קבוצה 27"/>
          <p:cNvGrpSpPr/>
          <p:nvPr/>
        </p:nvGrpSpPr>
        <p:grpSpPr>
          <a:xfrm rot="17979567">
            <a:off x="3301088" y="1202681"/>
            <a:ext cx="2232000" cy="2232000"/>
            <a:chOff x="3671900" y="1700808"/>
            <a:chExt cx="1728192" cy="1656184"/>
          </a:xfrm>
        </p:grpSpPr>
        <p:sp>
          <p:nvSpPr>
            <p:cNvPr id="29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6D81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30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9BAA4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grpSp>
        <p:nvGrpSpPr>
          <p:cNvPr id="31" name="קבוצה 30"/>
          <p:cNvGrpSpPr/>
          <p:nvPr/>
        </p:nvGrpSpPr>
        <p:grpSpPr>
          <a:xfrm rot="3192032">
            <a:off x="309326" y="1104392"/>
            <a:ext cx="2340000" cy="2340000"/>
            <a:chOff x="3671900" y="1700808"/>
            <a:chExt cx="1728192" cy="1656184"/>
          </a:xfrm>
        </p:grpSpPr>
        <p:sp>
          <p:nvSpPr>
            <p:cNvPr id="32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E3B9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33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CC614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sp>
        <p:nvSpPr>
          <p:cNvPr id="34" name="מלבן 33"/>
          <p:cNvSpPr/>
          <p:nvPr/>
        </p:nvSpPr>
        <p:spPr>
          <a:xfrm>
            <a:off x="683568" y="8344927"/>
            <a:ext cx="914400" cy="914400"/>
          </a:xfrm>
          <a:prstGeom prst="rect">
            <a:avLst/>
          </a:prstGeom>
          <a:solidFill>
            <a:srgbClr val="E3B9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5" name="מלבן 34"/>
          <p:cNvSpPr/>
          <p:nvPr/>
        </p:nvSpPr>
        <p:spPr>
          <a:xfrm>
            <a:off x="685900" y="9304038"/>
            <a:ext cx="914400" cy="914400"/>
          </a:xfrm>
          <a:prstGeom prst="rect">
            <a:avLst/>
          </a:prstGeom>
          <a:solidFill>
            <a:srgbClr val="CC61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6" name="מלבן 35"/>
          <p:cNvSpPr/>
          <p:nvPr/>
        </p:nvSpPr>
        <p:spPr>
          <a:xfrm>
            <a:off x="3491880" y="9348749"/>
            <a:ext cx="914400" cy="914400"/>
          </a:xfrm>
          <a:prstGeom prst="rect">
            <a:avLst/>
          </a:prstGeom>
          <a:solidFill>
            <a:srgbClr val="538E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7" name="מלבן 36"/>
          <p:cNvSpPr/>
          <p:nvPr/>
        </p:nvSpPr>
        <p:spPr>
          <a:xfrm>
            <a:off x="3491880" y="8376677"/>
            <a:ext cx="914400" cy="914400"/>
          </a:xfrm>
          <a:prstGeom prst="rect">
            <a:avLst/>
          </a:prstGeom>
          <a:solidFill>
            <a:srgbClr val="EB6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8" name="מלבן 37"/>
          <p:cNvSpPr/>
          <p:nvPr/>
        </p:nvSpPr>
        <p:spPr>
          <a:xfrm>
            <a:off x="2164605" y="9355360"/>
            <a:ext cx="914400" cy="914400"/>
          </a:xfrm>
          <a:prstGeom prst="rect">
            <a:avLst/>
          </a:prstGeom>
          <a:solidFill>
            <a:srgbClr val="9BAA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39" name="מלבן 38"/>
          <p:cNvSpPr/>
          <p:nvPr/>
        </p:nvSpPr>
        <p:spPr>
          <a:xfrm>
            <a:off x="2164605" y="8344927"/>
            <a:ext cx="914400" cy="914400"/>
          </a:xfrm>
          <a:prstGeom prst="rect">
            <a:avLst/>
          </a:prstGeom>
          <a:solidFill>
            <a:srgbClr val="6D81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0" name="מלבן 39"/>
          <p:cNvSpPr/>
          <p:nvPr/>
        </p:nvSpPr>
        <p:spPr>
          <a:xfrm>
            <a:off x="-1404664" y="6858000"/>
            <a:ext cx="914400" cy="914400"/>
          </a:xfrm>
          <a:prstGeom prst="rect">
            <a:avLst/>
          </a:prstGeom>
          <a:solidFill>
            <a:srgbClr val="9FAA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1" name="מלבן 40"/>
          <p:cNvSpPr/>
          <p:nvPr/>
        </p:nvSpPr>
        <p:spPr>
          <a:xfrm>
            <a:off x="-1404664" y="-20811"/>
            <a:ext cx="914400" cy="914400"/>
          </a:xfrm>
          <a:prstGeom prst="rect">
            <a:avLst/>
          </a:prstGeom>
          <a:solidFill>
            <a:srgbClr val="0DA29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2" name="מלבן 41"/>
          <p:cNvSpPr/>
          <p:nvPr/>
        </p:nvSpPr>
        <p:spPr>
          <a:xfrm>
            <a:off x="-1404664" y="1153671"/>
            <a:ext cx="914400" cy="914400"/>
          </a:xfrm>
          <a:prstGeom prst="rect">
            <a:avLst/>
          </a:prstGeom>
          <a:solidFill>
            <a:srgbClr val="DFA3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3" name="מלבן 42"/>
          <p:cNvSpPr/>
          <p:nvPr/>
        </p:nvSpPr>
        <p:spPr>
          <a:xfrm>
            <a:off x="-1404664" y="4677117"/>
            <a:ext cx="914400" cy="914400"/>
          </a:xfrm>
          <a:prstGeom prst="rect">
            <a:avLst/>
          </a:prstGeom>
          <a:solidFill>
            <a:srgbClr val="2493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4" name="מלבן 43"/>
          <p:cNvSpPr/>
          <p:nvPr/>
        </p:nvSpPr>
        <p:spPr>
          <a:xfrm>
            <a:off x="-1404664" y="5851600"/>
            <a:ext cx="914400" cy="914400"/>
          </a:xfrm>
          <a:prstGeom prst="rect">
            <a:avLst/>
          </a:prstGeom>
          <a:solidFill>
            <a:srgbClr val="E0D1B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5" name="מלבן 44"/>
          <p:cNvSpPr/>
          <p:nvPr/>
        </p:nvSpPr>
        <p:spPr>
          <a:xfrm>
            <a:off x="-1404664" y="3502635"/>
            <a:ext cx="914400" cy="9144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6" name="מלבן 45"/>
          <p:cNvSpPr/>
          <p:nvPr/>
        </p:nvSpPr>
        <p:spPr>
          <a:xfrm>
            <a:off x="-1404664" y="2328153"/>
            <a:ext cx="914400" cy="914400"/>
          </a:xfrm>
          <a:prstGeom prst="rect">
            <a:avLst/>
          </a:prstGeom>
          <a:solidFill>
            <a:srgbClr val="EE60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fontAlgn="auto">
              <a:spcBef>
                <a:spcPct val="0"/>
              </a:spcBef>
              <a:spcAft>
                <a:spcPct val="0"/>
              </a:spcAft>
              <a:defRPr/>
            </a:pPr>
            <a:endParaRPr lang="he-IL"/>
          </a:p>
        </p:txBody>
      </p:sp>
      <p:sp>
        <p:nvSpPr>
          <p:cNvPr id="47" name="מלבן 46"/>
          <p:cNvSpPr/>
          <p:nvPr/>
        </p:nvSpPr>
        <p:spPr>
          <a:xfrm>
            <a:off x="-4182875" y="893589"/>
            <a:ext cx="914400" cy="914400"/>
          </a:xfrm>
          <a:prstGeom prst="rect">
            <a:avLst/>
          </a:prstGeom>
          <a:solidFill>
            <a:srgbClr val="63A099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8" name="מלבן 47"/>
          <p:cNvSpPr/>
          <p:nvPr/>
        </p:nvSpPr>
        <p:spPr>
          <a:xfrm>
            <a:off x="-4182875" y="2044527"/>
            <a:ext cx="914400" cy="914400"/>
          </a:xfrm>
          <a:prstGeom prst="rect">
            <a:avLst/>
          </a:prstGeom>
          <a:solidFill>
            <a:srgbClr val="F09134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49" name="מלבן 48"/>
          <p:cNvSpPr/>
          <p:nvPr/>
        </p:nvSpPr>
        <p:spPr>
          <a:xfrm>
            <a:off x="-4182875" y="3241502"/>
            <a:ext cx="914400" cy="914400"/>
          </a:xfrm>
          <a:prstGeom prst="rect">
            <a:avLst/>
          </a:prstGeom>
          <a:solidFill>
            <a:srgbClr val="5A7E3C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0" name="מלבן 49"/>
          <p:cNvSpPr/>
          <p:nvPr/>
        </p:nvSpPr>
        <p:spPr>
          <a:xfrm>
            <a:off x="-2916832" y="893589"/>
            <a:ext cx="914400" cy="914400"/>
          </a:xfrm>
          <a:prstGeom prst="rect">
            <a:avLst/>
          </a:prstGeom>
          <a:solidFill>
            <a:srgbClr val="105864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1" name="מלבן 50"/>
          <p:cNvSpPr/>
          <p:nvPr/>
        </p:nvSpPr>
        <p:spPr>
          <a:xfrm>
            <a:off x="-2916832" y="2044527"/>
            <a:ext cx="914400" cy="914400"/>
          </a:xfrm>
          <a:prstGeom prst="rect">
            <a:avLst/>
          </a:prstGeom>
          <a:solidFill>
            <a:srgbClr val="E65B3C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52" name="אליפסה 51"/>
          <p:cNvSpPr/>
          <p:nvPr/>
        </p:nvSpPr>
        <p:spPr>
          <a:xfrm>
            <a:off x="6227536" y="908720"/>
            <a:ext cx="2628000" cy="2628000"/>
          </a:xfrm>
          <a:prstGeom prst="ellipse">
            <a:avLst/>
          </a:prstGeom>
          <a:solidFill>
            <a:srgbClr val="63A099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pic>
        <p:nvPicPr>
          <p:cNvPr id="53" name="Picture 3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928572" y="4859195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54" name="Picture 3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940149" y="1869968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4" cstate="print">
            <a:biLevel thresh="25000"/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961280" y="1993058"/>
            <a:ext cx="844662" cy="633561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56" name="כותרת 2"/>
          <p:cNvSpPr txBox="1"/>
          <p:nvPr/>
        </p:nvSpPr>
        <p:spPr>
          <a:xfrm>
            <a:off x="509125" y="4272790"/>
            <a:ext cx="2132511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Transparency</a:t>
            </a:r>
            <a:endParaRPr lang="he-IL" sz="20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57" name="כותרת 2"/>
          <p:cNvSpPr txBox="1"/>
          <p:nvPr/>
        </p:nvSpPr>
        <p:spPr>
          <a:xfrm>
            <a:off x="308229" y="5435259"/>
            <a:ext cx="2132511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Control</a:t>
            </a:r>
            <a:endParaRPr lang="he-IL" sz="20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58" name="כותרת 2"/>
          <p:cNvSpPr txBox="1"/>
          <p:nvPr/>
        </p:nvSpPr>
        <p:spPr>
          <a:xfrm>
            <a:off x="131511" y="1212403"/>
            <a:ext cx="2132511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32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IDF</a:t>
            </a:r>
            <a:endParaRPr lang="he-IL" sz="32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59" name="כותרת 2"/>
          <p:cNvSpPr txBox="1"/>
          <p:nvPr/>
        </p:nvSpPr>
        <p:spPr>
          <a:xfrm>
            <a:off x="535830" y="2459186"/>
            <a:ext cx="2132511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Ministry of Defense</a:t>
            </a:r>
            <a:endParaRPr lang="he-IL" sz="20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0" name="כותרת 2"/>
          <p:cNvSpPr txBox="1"/>
          <p:nvPr/>
        </p:nvSpPr>
        <p:spPr>
          <a:xfrm>
            <a:off x="3347864" y="1412776"/>
            <a:ext cx="213251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dirty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Readiness</a:t>
            </a:r>
            <a:endParaRPr lang="he-IL" sz="24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1" name="כותרת 2"/>
          <p:cNvSpPr txBox="1"/>
          <p:nvPr/>
        </p:nvSpPr>
        <p:spPr>
          <a:xfrm>
            <a:off x="3059832" y="2492896"/>
            <a:ext cx="2564807" cy="55399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0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Strengthening</a:t>
            </a:r>
            <a:endParaRPr lang="he-IL" sz="20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2" name="כותרת 2"/>
          <p:cNvSpPr txBox="1"/>
          <p:nvPr/>
        </p:nvSpPr>
        <p:spPr>
          <a:xfrm>
            <a:off x="6516216" y="1484784"/>
            <a:ext cx="213251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40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HR and Salaries</a:t>
            </a:r>
            <a:endParaRPr lang="he-IL" sz="40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3" name="אליפסה 62"/>
          <p:cNvSpPr/>
          <p:nvPr/>
        </p:nvSpPr>
        <p:spPr>
          <a:xfrm>
            <a:off x="6264480" y="3789040"/>
            <a:ext cx="2628000" cy="2628000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he-I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cs typeface="Arial"/>
            </a:endParaRPr>
          </a:p>
        </p:txBody>
      </p:sp>
      <p:sp>
        <p:nvSpPr>
          <p:cNvPr id="64" name="כותרת 2"/>
          <p:cNvSpPr txBox="1"/>
          <p:nvPr/>
        </p:nvSpPr>
        <p:spPr>
          <a:xfrm>
            <a:off x="6488160" y="4056022"/>
            <a:ext cx="2132511" cy="203132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8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Budget and Authority</a:t>
            </a:r>
            <a:endParaRPr lang="he-IL" sz="28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grpSp>
        <p:nvGrpSpPr>
          <p:cNvPr id="65" name="קבוצה 64"/>
          <p:cNvGrpSpPr/>
          <p:nvPr/>
        </p:nvGrpSpPr>
        <p:grpSpPr>
          <a:xfrm rot="3192032">
            <a:off x="3268490" y="3977540"/>
            <a:ext cx="2340000" cy="2340000"/>
            <a:chOff x="3671900" y="1700808"/>
            <a:chExt cx="1728192" cy="1656184"/>
          </a:xfrm>
        </p:grpSpPr>
        <p:sp>
          <p:nvSpPr>
            <p:cNvPr id="66" name="אקורד 4"/>
            <p:cNvSpPr/>
            <p:nvPr/>
          </p:nvSpPr>
          <p:spPr>
            <a:xfrm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F0913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  <p:sp>
          <p:nvSpPr>
            <p:cNvPr id="67" name="אקורד 4"/>
            <p:cNvSpPr/>
            <p:nvPr/>
          </p:nvSpPr>
          <p:spPr>
            <a:xfrm rot="10800000">
              <a:off x="3671900" y="1700808"/>
              <a:ext cx="1728192" cy="1656184"/>
            </a:xfrm>
            <a:prstGeom prst="chord">
              <a:avLst>
                <a:gd name="adj1" fmla="val 5130046"/>
                <a:gd name="adj2" fmla="val 16019223"/>
              </a:avLst>
            </a:prstGeom>
            <a:solidFill>
              <a:srgbClr val="105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/>
            </a:p>
          </p:txBody>
        </p:sp>
      </p:grpSp>
      <p:pic>
        <p:nvPicPr>
          <p:cNvPr id="68" name="Picture 3"/>
          <p:cNvPicPr>
            <a:picLocks noChangeAspect="1" noChangeArrowheads="1"/>
          </p:cNvPicPr>
          <p:nvPr/>
        </p:nvPicPr>
        <p:blipFill>
          <a:blip r:embed="rId2" cstate="print">
            <a:biLevel thresh="25000"/>
            <a:extLst>
              <a:ext uri="{BEBA8EAE-BF5A-486C-A8C5-ECC9F3942E4B}">
                <a14:imgProps xmlns="" xmlns:a14="http://schemas.microsoft.com/office/drawing/2010/main">
                  <a14:imgLayer r:embed="rId3">
                    <a14:imgEffect>
                      <a14:backgroundRemoval t="3633" b="98736" l="9953" r="93365">
                        <a14:foregroundMark x1="27607" y1="35703" x2="56635" y2="25750"/>
                        <a14:foregroundMark x1="24645" y1="24013" x2="33175" y2="616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 bwMode="auto">
          <a:xfrm>
            <a:off x="3899313" y="4743116"/>
            <a:ext cx="1078354" cy="80884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</p:pic>
      <p:sp>
        <p:nvSpPr>
          <p:cNvPr id="69" name="כותרת 2"/>
          <p:cNvSpPr txBox="1"/>
          <p:nvPr/>
        </p:nvSpPr>
        <p:spPr>
          <a:xfrm>
            <a:off x="3231577" y="4150821"/>
            <a:ext cx="213251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Certainty</a:t>
            </a:r>
            <a:endParaRPr lang="he-IL" sz="24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70" name="כותרת 2"/>
          <p:cNvSpPr txBox="1"/>
          <p:nvPr/>
        </p:nvSpPr>
        <p:spPr>
          <a:xfrm>
            <a:off x="3563888" y="5374957"/>
            <a:ext cx="213251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sz="2400" dirty="0" smtClean="0">
                <a:ln w="28575">
                  <a:solidFill>
                    <a:schemeClr val="bg1"/>
                  </a:solidFill>
                </a:ln>
                <a:solidFill>
                  <a:schemeClr val="bg1"/>
                </a:solidFill>
              </a:rPr>
              <a:t>Variability</a:t>
            </a:r>
            <a:endParaRPr lang="he-IL" sz="2400" dirty="0">
              <a:ln w="28575"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90441069"/>
      </p:ext>
    </p:extLst>
  </p:cSld>
  <p:clrMapOvr>
    <a:masterClrMapping/>
  </p:clrMapOvr>
  <p:transition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כותרת 2"/>
          <p:cNvSpPr txBox="1"/>
          <p:nvPr/>
        </p:nvSpPr>
        <p:spPr>
          <a:xfrm>
            <a:off x="0" y="-171400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r>
              <a:rPr lang="en-US" dirty="0"/>
              <a:t>Two </a:t>
            </a:r>
            <a:r>
              <a:rPr lang="en-US" dirty="0" smtClean="0"/>
              <a:t>Efforts </a:t>
            </a:r>
            <a:r>
              <a:rPr lang="en-US" dirty="0"/>
              <a:t>- </a:t>
            </a:r>
            <a:r>
              <a:rPr lang="en-US" dirty="0" smtClean="0"/>
              <a:t>One Goal</a:t>
            </a:r>
            <a:endParaRPr lang="he-IL" dirty="0"/>
          </a:p>
        </p:txBody>
      </p:sp>
      <p:sp>
        <p:nvSpPr>
          <p:cNvPr id="11" name="מלבן 10"/>
          <p:cNvSpPr/>
          <p:nvPr/>
        </p:nvSpPr>
        <p:spPr>
          <a:xfrm>
            <a:off x="-1620688" y="4537694"/>
            <a:ext cx="914400" cy="914400"/>
          </a:xfrm>
          <a:prstGeom prst="rect">
            <a:avLst/>
          </a:prstGeom>
          <a:solidFill>
            <a:srgbClr val="74A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12" name="מלבן 11"/>
          <p:cNvSpPr/>
          <p:nvPr/>
        </p:nvSpPr>
        <p:spPr>
          <a:xfrm>
            <a:off x="-1620688" y="3429000"/>
            <a:ext cx="914400" cy="914400"/>
          </a:xfrm>
          <a:prstGeom prst="rect">
            <a:avLst/>
          </a:prstGeom>
          <a:solidFill>
            <a:srgbClr val="D9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he-IL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17" name="מלבן 16"/>
          <p:cNvSpPr/>
          <p:nvPr/>
        </p:nvSpPr>
        <p:spPr>
          <a:xfrm>
            <a:off x="-2268760" y="1843140"/>
            <a:ext cx="914400" cy="914400"/>
          </a:xfrm>
          <a:prstGeom prst="rect">
            <a:avLst/>
          </a:prstGeom>
          <a:solidFill>
            <a:srgbClr val="49A2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21" name="מלבן 20"/>
          <p:cNvSpPr/>
          <p:nvPr/>
        </p:nvSpPr>
        <p:spPr>
          <a:xfrm>
            <a:off x="-1163488" y="1352094"/>
            <a:ext cx="914400" cy="914400"/>
          </a:xfrm>
          <a:prstGeom prst="rect">
            <a:avLst/>
          </a:prstGeom>
          <a:solidFill>
            <a:srgbClr val="5472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37" name="מלבן 36"/>
          <p:cNvSpPr/>
          <p:nvPr/>
        </p:nvSpPr>
        <p:spPr>
          <a:xfrm>
            <a:off x="-5187422" y="3979549"/>
            <a:ext cx="914400" cy="914400"/>
          </a:xfrm>
          <a:prstGeom prst="rect">
            <a:avLst/>
          </a:prstGeom>
          <a:solidFill>
            <a:srgbClr val="74AC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0" name="מלבן 39"/>
          <p:cNvSpPr/>
          <p:nvPr/>
        </p:nvSpPr>
        <p:spPr>
          <a:xfrm>
            <a:off x="-4077760" y="3979549"/>
            <a:ext cx="914400" cy="914400"/>
          </a:xfrm>
          <a:prstGeom prst="rect">
            <a:avLst/>
          </a:prstGeom>
          <a:solidFill>
            <a:srgbClr val="D941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r>
              <a:rPr lang="he-IL">
                <a:solidFill>
                  <a:prstClr val="white"/>
                </a:solidFill>
              </a:rPr>
              <a:t> </a:t>
            </a:r>
          </a:p>
        </p:txBody>
      </p:sp>
      <p:sp>
        <p:nvSpPr>
          <p:cNvPr id="41" name="מלבן 40"/>
          <p:cNvSpPr/>
          <p:nvPr/>
        </p:nvSpPr>
        <p:spPr>
          <a:xfrm>
            <a:off x="-972616" y="5229200"/>
            <a:ext cx="914400" cy="914400"/>
          </a:xfrm>
          <a:prstGeom prst="rect">
            <a:avLst/>
          </a:prstGeom>
          <a:solidFill>
            <a:srgbClr val="EB6E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46" name="מלבן 45"/>
          <p:cNvSpPr/>
          <p:nvPr/>
        </p:nvSpPr>
        <p:spPr>
          <a:xfrm>
            <a:off x="-1031007" y="2932981"/>
            <a:ext cx="914400" cy="914400"/>
          </a:xfrm>
          <a:prstGeom prst="rect">
            <a:avLst/>
          </a:prstGeom>
          <a:solidFill>
            <a:srgbClr val="47717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sp>
        <p:nvSpPr>
          <p:cNvPr id="62" name="מלבן 61"/>
          <p:cNvSpPr/>
          <p:nvPr/>
        </p:nvSpPr>
        <p:spPr>
          <a:xfrm>
            <a:off x="-3780928" y="5229200"/>
            <a:ext cx="914400" cy="914400"/>
          </a:xfrm>
          <a:prstGeom prst="rect">
            <a:avLst/>
          </a:prstGeom>
          <a:solidFill>
            <a:srgbClr val="709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>
              <a:defRPr/>
            </a:pPr>
            <a:endParaRPr lang="he-IL">
              <a:solidFill>
                <a:prstClr val="white"/>
              </a:solidFill>
            </a:endParaRPr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00464" y="2012983"/>
            <a:ext cx="4808040" cy="48066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2" name="קבוצה 2"/>
          <p:cNvGrpSpPr/>
          <p:nvPr/>
        </p:nvGrpSpPr>
        <p:grpSpPr>
          <a:xfrm rot="1385229">
            <a:off x="3475832" y="1239151"/>
            <a:ext cx="3180420" cy="1771674"/>
            <a:chOff x="2575820" y="519018"/>
            <a:chExt cx="3180420" cy="1771674"/>
          </a:xfrm>
        </p:grpSpPr>
        <p:cxnSp>
          <p:nvCxnSpPr>
            <p:cNvPr id="19" name="מחבר ישר 3"/>
            <p:cNvCxnSpPr/>
            <p:nvPr/>
          </p:nvCxnSpPr>
          <p:spPr>
            <a:xfrm>
              <a:off x="3410354" y="1039671"/>
              <a:ext cx="2345886" cy="1251021"/>
            </a:xfrm>
            <a:prstGeom prst="line">
              <a:avLst/>
            </a:prstGeom>
            <a:ln w="50800" cap="rnd">
              <a:solidFill>
                <a:schemeClr val="bg1">
                  <a:lumMod val="95000"/>
                </a:schemeClr>
              </a:solidFill>
              <a:tailEnd type="stealth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תרשים זרימה: תצוגה 6"/>
            <p:cNvSpPr/>
            <p:nvPr/>
          </p:nvSpPr>
          <p:spPr>
            <a:xfrm rot="12410938">
              <a:off x="2575820" y="519018"/>
              <a:ext cx="1368152" cy="934420"/>
            </a:xfrm>
            <a:prstGeom prst="flowChartDisplay">
              <a:avLst/>
            </a:prstGeom>
            <a:solidFill>
              <a:srgbClr val="46A5D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/>
              <a:endParaRPr lang="he-IL">
                <a:solidFill>
                  <a:prstClr val="white"/>
                </a:solidFill>
              </a:endParaRPr>
            </a:p>
          </p:txBody>
        </p:sp>
      </p:grpSp>
      <p:cxnSp>
        <p:nvCxnSpPr>
          <p:cNvPr id="63" name="מחבר ישר 62"/>
          <p:cNvCxnSpPr/>
          <p:nvPr/>
        </p:nvCxnSpPr>
        <p:spPr>
          <a:xfrm>
            <a:off x="3738282" y="4566556"/>
            <a:ext cx="2057854" cy="0"/>
          </a:xfrm>
          <a:prstGeom prst="line">
            <a:avLst/>
          </a:prstGeom>
          <a:ln w="50800" cap="rnd">
            <a:solidFill>
              <a:schemeClr val="bg1">
                <a:lumMod val="95000"/>
              </a:schemeClr>
            </a:solidFill>
            <a:tailEnd type="stealth"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תרשים זרימה: תצוגה 63"/>
          <p:cNvSpPr/>
          <p:nvPr/>
        </p:nvSpPr>
        <p:spPr>
          <a:xfrm rot="10800000">
            <a:off x="2369850" y="4081370"/>
            <a:ext cx="1368152" cy="934420"/>
          </a:xfrm>
          <a:prstGeom prst="flowChartDisplay">
            <a:avLst/>
          </a:prstGeom>
          <a:solidFill>
            <a:srgbClr val="FC545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65" name="מלבן 64"/>
          <p:cNvSpPr/>
          <p:nvPr/>
        </p:nvSpPr>
        <p:spPr>
          <a:xfrm>
            <a:off x="3554175" y="1013827"/>
            <a:ext cx="1665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4800">
                <a:ln w="571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Lucida Sans Unicode" panose="020B0602030504020204" pitchFamily="34" charset="0"/>
              </a:rPr>
              <a:t>1</a:t>
            </a:r>
            <a:endParaRPr lang="he-IL" sz="3600">
              <a:ln w="57150"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6" name="מלבן 65"/>
          <p:cNvSpPr/>
          <p:nvPr/>
        </p:nvSpPr>
        <p:spPr>
          <a:xfrm>
            <a:off x="2181956" y="4162534"/>
            <a:ext cx="166589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he-IL" sz="4800">
                <a:ln w="571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Microsoft YaHei" panose="020B0503020204020204" pitchFamily="34" charset="-122"/>
                <a:cs typeface="Lucida Sans Unicode" panose="020B0602030504020204" pitchFamily="34" charset="0"/>
              </a:rPr>
              <a:t>2</a:t>
            </a:r>
            <a:endParaRPr lang="he-IL" sz="3600">
              <a:ln w="57150">
                <a:solidFill>
                  <a:prstClr val="white"/>
                </a:solidFill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7" name="כותרת 2"/>
          <p:cNvSpPr txBox="1"/>
          <p:nvPr/>
        </p:nvSpPr>
        <p:spPr>
          <a:xfrm>
            <a:off x="74030" y="937750"/>
            <a:ext cx="3568739" cy="149656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l" rtl="0"/>
            <a:r>
              <a:rPr lang="en-US" sz="2000" dirty="0" smtClean="0">
                <a:ln w="9525">
                  <a:solidFill>
                    <a:srgbClr val="46A5D5"/>
                  </a:solidFill>
                </a:ln>
                <a:solidFill>
                  <a:srgbClr val="46A5D5"/>
                </a:solidFill>
              </a:rPr>
              <a:t>Outwards </a:t>
            </a:r>
            <a:r>
              <a:rPr lang="en-US" sz="1400" dirty="0" smtClean="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Harnessing the political sphere to increase the defense budget while setting priorities for the new government</a:t>
            </a:r>
            <a:endParaRPr lang="he-IL" sz="2800" dirty="0">
              <a:ln w="3175">
                <a:solidFill>
                  <a:prstClr val="black"/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68" name="כותרת 2"/>
          <p:cNvSpPr txBox="1"/>
          <p:nvPr/>
        </p:nvSpPr>
        <p:spPr>
          <a:xfrm>
            <a:off x="395536" y="4797152"/>
            <a:ext cx="4188043" cy="221599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he-IL"/>
            </a:defPPr>
            <a:lvl1pPr lvl="0" algn="ctr">
              <a:lnSpc>
                <a:spcPct val="150000"/>
              </a:lnSpc>
              <a:defRPr sz="360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defRPr>
            </a:lvl1pPr>
          </a:lstStyle>
          <a:p>
            <a:pPr algn="l" rtl="0"/>
            <a:r>
              <a:rPr lang="en-US" sz="3200" dirty="0" smtClean="0">
                <a:ln w="9525">
                  <a:solidFill>
                    <a:srgbClr val="FC5451"/>
                  </a:solidFill>
                </a:ln>
                <a:solidFill>
                  <a:srgbClr val="FC5451"/>
                </a:solidFill>
              </a:rPr>
              <a:t>Inwards </a:t>
            </a:r>
            <a:r>
              <a:rPr lang="en-US" sz="2000" dirty="0" smtClean="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</a:rPr>
              <a:t>This is the time to  improve efficiency and effectiveness within the existing framework.</a:t>
            </a:r>
            <a:endParaRPr lang="he-IL" sz="2000" dirty="0">
              <a:ln w="3175">
                <a:solidFill>
                  <a:prstClr val="black"/>
                </a:solidFill>
              </a:ln>
              <a:solidFill>
                <a:prstClr val="black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 rot="17184034">
            <a:off x="5195723" y="1425267"/>
            <a:ext cx="3410809" cy="4391919"/>
          </a:xfrm>
          <a:prstGeom prst="rect">
            <a:avLst/>
          </a:prstGeom>
          <a:noFill/>
        </p:spPr>
        <p:txBody>
          <a:bodyPr wrap="square" rtlCol="1">
            <a:prstTxWarp prst="textCircle">
              <a:avLst>
                <a:gd name="adj" fmla="val 11063321"/>
              </a:avLst>
            </a:prstTxWarp>
            <a:spAutoFit/>
          </a:bodyPr>
          <a:lstStyle/>
          <a:p>
            <a:pPr algn="ctr"/>
            <a:r>
              <a:rPr lang="en-US" sz="2000" dirty="0" smtClean="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reating a space for resources</a:t>
            </a:r>
            <a:endParaRPr lang="he-IL" sz="1600" dirty="0" smtClean="0">
              <a:ln w="31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/>
            <a:r>
              <a:rPr lang="en-US" sz="2000" dirty="0" smtClean="0">
                <a:ln w="31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at enable the IDF to succeed!</a:t>
            </a:r>
            <a:endParaRPr lang="he-IL" sz="1600" dirty="0">
              <a:ln w="31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4313286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67271"/>
            <a:ext cx="9144000" cy="769441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0">
              <a:defRPr/>
            </a:pPr>
            <a:r>
              <a:rPr lang="en-US" sz="4400" b="0" u="none" dirty="0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</a:t>
            </a:r>
            <a:r>
              <a:rPr lang="en-US" sz="4400" b="0" u="none" dirty="0" smtClean="0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Challenges</a:t>
            </a:r>
            <a:endParaRPr lang="he-IL" sz="4400" b="0" u="none" dirty="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3046988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 rtl="0">
              <a:defRPr/>
            </a:pPr>
            <a:r>
              <a:rPr lang="en-US" sz="4800" b="1" dirty="0" smtClean="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ringing </a:t>
            </a:r>
            <a:r>
              <a:rPr lang="en-US" sz="4800" b="1" dirty="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budget that will provide the best response to security needs and ensure the best use of the budget</a:t>
            </a:r>
            <a:endParaRPr lang="he-IL" sz="4800" b="1" dirty="0">
              <a:ln w="285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3554553" y="4527788"/>
            <a:ext cx="2034893" cy="2034893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="" xmlns:p14="http://schemas.microsoft.com/office/powerpoint/2010/main" val="113299748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10242"/>
            <a:ext cx="9144000" cy="1446550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0">
              <a:defRPr/>
            </a:pPr>
            <a:r>
              <a:rPr lang="en-US" sz="4400" b="0" u="none" dirty="0">
                <a:ln w="12700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Challenges</a:t>
            </a:r>
            <a:endParaRPr lang="he-IL" sz="4400" b="0" u="none" dirty="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rtl="0">
              <a:defRPr/>
            </a:pPr>
            <a:endParaRPr lang="he-IL" sz="4400" b="0" u="none" dirty="0">
              <a:ln w="12700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908720"/>
            <a:ext cx="9144000" cy="4247317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lvl="0" algn="ctr" rtl="0">
              <a:defRPr/>
            </a:pPr>
            <a:r>
              <a:rPr lang="en-US" sz="5400" b="1" dirty="0" smtClean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ringing the </a:t>
            </a:r>
            <a:r>
              <a:rPr lang="en-US" sz="5400" b="1" dirty="0">
                <a:ln w="28575">
                  <a:solidFill>
                    <a:srgbClr val="0070C0"/>
                  </a:solidFill>
                </a:ln>
                <a:solidFill>
                  <a:srgbClr val="0070C0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budget that will provide the best response to security needs </a:t>
            </a:r>
            <a:r>
              <a:rPr lang="en-US" sz="5400" b="1" dirty="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a</a:t>
            </a:r>
            <a:r>
              <a:rPr lang="en-US" sz="5400" b="1" dirty="0" smtClean="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nd ensuring </a:t>
            </a:r>
            <a:r>
              <a:rPr lang="en-US" sz="5400" b="1" dirty="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best use of the budget</a:t>
            </a:r>
            <a:endParaRPr lang="he-IL" sz="5400" b="1" dirty="0">
              <a:ln w="28575">
                <a:solidFill>
                  <a:prstClr val="black"/>
                </a:solidFill>
              </a:ln>
              <a:solidFill>
                <a:prstClr val="black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pic>
        <p:nvPicPr>
          <p:cNvPr id="4" name="Picture 2" descr="http://www.easyvectors.com/assets/images/vectors/eavSDK/arrow-on-target.jpg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3779912" y="5013176"/>
            <a:ext cx="1377486" cy="1377486"/>
          </a:xfrm>
          <a:prstGeom prst="rect">
            <a:avLst/>
          </a:prstGeom>
          <a:noFill/>
          <a:ln w="9525">
            <a:noFill/>
            <a:miter lim="800000"/>
          </a:ln>
        </p:spPr>
      </p:pic>
    </p:spTree>
    <p:extLst>
      <p:ext uri="{BB962C8B-B14F-4D97-AF65-F5344CB8AC3E}">
        <p14:creationId xmlns="" xmlns:p14="http://schemas.microsoft.com/office/powerpoint/2010/main" val="2728157974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36512" y="82073"/>
            <a:ext cx="9144000" cy="6875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מלבן 1"/>
          <p:cNvSpPr/>
          <p:nvPr/>
        </p:nvSpPr>
        <p:spPr>
          <a:xfrm>
            <a:off x="8676456" y="6381328"/>
            <a:ext cx="467544" cy="4766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endParaRPr lang="he-IL"/>
          </a:p>
        </p:txBody>
      </p:sp>
      <p:sp>
        <p:nvSpPr>
          <p:cNvPr id="3" name="TextBox 2"/>
          <p:cNvSpPr txBox="1"/>
          <p:nvPr/>
        </p:nvSpPr>
        <p:spPr>
          <a:xfrm>
            <a:off x="0" y="1268760"/>
            <a:ext cx="91440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l" rtl="0"/>
            <a:r>
              <a:rPr lang="en-US" sz="2800" b="1" dirty="0" smtClean="0"/>
              <a:t>Which employment sector occupies the Israelis the most?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56176" y="5661248"/>
            <a:ext cx="129614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l" rtl="0"/>
            <a:r>
              <a:rPr lang="en-US" sz="2400" dirty="0" smtClean="0"/>
              <a:t>Security </a:t>
            </a:r>
            <a:endParaRPr lang="he-IL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3203848" y="4077072"/>
            <a:ext cx="144016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l" rtl="0"/>
            <a:r>
              <a:rPr lang="en-US" sz="2400" dirty="0" smtClean="0"/>
              <a:t>Education </a:t>
            </a:r>
            <a:endParaRPr lang="he-IL" sz="2400" dirty="0"/>
          </a:p>
        </p:txBody>
      </p:sp>
      <p:sp>
        <p:nvSpPr>
          <p:cNvPr id="7" name="TextBox 6"/>
          <p:cNvSpPr txBox="1"/>
          <p:nvPr/>
        </p:nvSpPr>
        <p:spPr>
          <a:xfrm>
            <a:off x="1763688" y="2204864"/>
            <a:ext cx="1440160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ctr" rtl="0"/>
            <a:r>
              <a:rPr lang="en-US" sz="2400" dirty="0" smtClean="0"/>
              <a:t>Health</a:t>
            </a:r>
            <a:endParaRPr lang="he-IL" sz="2400" dirty="0"/>
          </a:p>
        </p:txBody>
      </p:sp>
      <p:sp>
        <p:nvSpPr>
          <p:cNvPr id="14" name="TextBox 13"/>
          <p:cNvSpPr txBox="1"/>
          <p:nvPr/>
        </p:nvSpPr>
        <p:spPr>
          <a:xfrm>
            <a:off x="4644008" y="5308468"/>
            <a:ext cx="151216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algn="l" rtl="0"/>
            <a:r>
              <a:rPr lang="en-US" sz="2400" dirty="0" smtClean="0"/>
              <a:t>Transport  </a:t>
            </a:r>
            <a:endParaRPr lang="he-IL" sz="2400" dirty="0"/>
          </a:p>
        </p:txBody>
      </p:sp>
      <p:sp>
        <p:nvSpPr>
          <p:cNvPr id="15" name="TextBox 14"/>
          <p:cNvSpPr txBox="1"/>
          <p:nvPr/>
        </p:nvSpPr>
        <p:spPr>
          <a:xfrm>
            <a:off x="539552" y="6631468"/>
            <a:ext cx="8460432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1">
            <a:spAutoFit/>
          </a:bodyPr>
          <a:lstStyle/>
          <a:p>
            <a:pPr lvl="0"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1050" b="1" dirty="0" smtClean="0">
                <a:solidFill>
                  <a:srgbClr val="000000"/>
                </a:solidFill>
                <a:latin typeface="Assistant"/>
                <a:ea typeface="Times New Roman" pitchFamily="18" charset="0"/>
                <a:cs typeface="Times New Roman" pitchFamily="18" charset="0"/>
              </a:rPr>
              <a:t>*The reference index of Google Search volume of trends for network estimation based on the four values that were set</a:t>
            </a:r>
            <a:endParaRPr lang="en-US" sz="1200" b="1" dirty="0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379850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מלבן 1"/>
          <p:cNvSpPr/>
          <p:nvPr/>
        </p:nvSpPr>
        <p:spPr>
          <a:xfrm>
            <a:off x="0" y="1988840"/>
            <a:ext cx="9143999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US" sz="6600" dirty="0" smtClean="0"/>
              <a:t>How can we explain the need for security in a relatively peaceful time?</a:t>
            </a:r>
          </a:p>
          <a:p>
            <a:r>
              <a:rPr lang="en-US" sz="6600" dirty="0" smtClean="0"/>
              <a:t/>
            </a:r>
            <a:br>
              <a:rPr lang="en-US" sz="6600" dirty="0" smtClean="0"/>
            </a:br>
            <a:endParaRPr lang="he-IL" sz="6600" dirty="0">
              <a:ln w="19050">
                <a:solidFill>
                  <a:schemeClr val="tx1">
                    <a:lumMod val="85000"/>
                    <a:lumOff val="15000"/>
                  </a:schemeClr>
                </a:solidFill>
              </a:ln>
              <a:solidFill>
                <a:schemeClr val="tx1">
                  <a:lumMod val="85000"/>
                  <a:lumOff val="15000"/>
                </a:scheme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7219123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44624"/>
            <a:ext cx="9144000" cy="1261884"/>
          </a:xfrm>
          <a:prstGeom prst="rect">
            <a:avLst/>
          </a:prstGeom>
          <a:noFill/>
        </p:spPr>
        <p:txBody>
          <a:bodyPr rtlCol="1">
            <a:spAutoFit/>
          </a:bodyPr>
          <a:lstStyle>
            <a:defPPr>
              <a:defRPr lang="he-IL"/>
            </a:defPPr>
            <a:lvl1pPr algn="ctr" fontAlgn="auto">
              <a:spcBef>
                <a:spcPct val="0"/>
              </a:spcBef>
              <a:spcAft>
                <a:spcPct val="0"/>
              </a:spcAft>
              <a:defRPr sz="2800" b="1" u="sng">
                <a:ln w="19050">
                  <a:solidFill>
                    <a:schemeClr val="tx1"/>
                  </a:solidFill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rtl="0">
              <a:defRPr/>
            </a:pPr>
            <a:r>
              <a:rPr lang="en-US" b="0" u="none" dirty="0" smtClean="0">
                <a:ln w="12700">
                  <a:solidFill>
                    <a:prstClr val="black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Campaign between the Wars- </a:t>
            </a:r>
          </a:p>
          <a:p>
            <a:pPr rtl="0">
              <a:defRPr/>
            </a:pPr>
            <a:r>
              <a:rPr lang="en-US" b="0" u="none" dirty="0" smtClean="0">
                <a:ln w="12700">
                  <a:solidFill>
                    <a:prstClr val="black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the War Behind the Scenes</a:t>
            </a:r>
          </a:p>
          <a:p>
            <a:pPr rtl="0">
              <a:defRPr/>
            </a:pPr>
            <a:r>
              <a:rPr lang="en-US" sz="2000" b="0" u="none" dirty="0" smtClean="0">
                <a:ln w="12700">
                  <a:solidFill>
                    <a:prstClr val="black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The Development </a:t>
            </a:r>
            <a:r>
              <a:rPr lang="en-US" sz="2000" b="0" u="none" dirty="0">
                <a:ln w="12700">
                  <a:solidFill>
                    <a:prstClr val="black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of the </a:t>
            </a:r>
            <a:r>
              <a:rPr lang="en-US" sz="2000" b="0" u="none" dirty="0" smtClean="0">
                <a:ln w="12700">
                  <a:solidFill>
                    <a:prstClr val="black"/>
                  </a:solidFill>
                </a:ln>
                <a:latin typeface="Lucida Sans Unicode" panose="020B0602030504020204" pitchFamily="34" charset="0"/>
                <a:cs typeface="Lucida Sans Unicode" panose="020B0602030504020204" pitchFamily="34" charset="0"/>
              </a:rPr>
              <a:t>Campaign between the Wars in Recent Years</a:t>
            </a:r>
            <a:endParaRPr lang="he-IL" sz="2000" b="0" u="none" dirty="0">
              <a:ln w="12700">
                <a:solidFill>
                  <a:prstClr val="black"/>
                </a:solidFill>
              </a:ln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graphicFrame>
        <p:nvGraphicFramePr>
          <p:cNvPr id="4" name="תרשים 4"/>
          <p:cNvGraphicFramePr/>
          <p:nvPr>
            <p:extLst>
              <p:ext uri="{D42A27DB-BD31-4B8C-83A1-F6EECF244321}">
                <p14:modId xmlns="" xmlns:p14="http://schemas.microsoft.com/office/powerpoint/2010/main" val="1322482361"/>
              </p:ext>
            </p:extLst>
          </p:nvPr>
        </p:nvGraphicFramePr>
        <p:xfrm>
          <a:off x="215516" y="1183397"/>
          <a:ext cx="8712967" cy="4736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מלבן 4"/>
          <p:cNvSpPr/>
          <p:nvPr/>
        </p:nvSpPr>
        <p:spPr>
          <a:xfrm>
            <a:off x="-828600" y="5733256"/>
            <a:ext cx="37642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US" sz="1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Since “Operation </a:t>
            </a:r>
          </a:p>
          <a:p>
            <a:pPr algn="ctr" rtl="0"/>
            <a:r>
              <a:rPr lang="en-US" sz="1000" dirty="0" smtClean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Protective Edge”</a:t>
            </a:r>
            <a:endParaRPr lang="he-IL" sz="1000" dirty="0">
              <a:ln w="28575"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prstClr val="black">
                  <a:lumMod val="85000"/>
                  <a:lumOff val="15000"/>
                </a:prstClr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  <p:sp>
        <p:nvSpPr>
          <p:cNvPr id="6" name="מלבן 5"/>
          <p:cNvSpPr/>
          <p:nvPr/>
        </p:nvSpPr>
        <p:spPr>
          <a:xfrm>
            <a:off x="7524328" y="5775067"/>
            <a:ext cx="122413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rtl="0"/>
            <a:r>
              <a:rPr lang="en-US" sz="1000" dirty="0">
                <a:ln w="28575">
                  <a:solidFill>
                    <a:prstClr val="black">
                      <a:lumMod val="85000"/>
                      <a:lumOff val="15000"/>
                    </a:prstClr>
                  </a:solidFill>
                </a:ln>
                <a:solidFill>
                  <a:prstClr val="black">
                    <a:lumMod val="85000"/>
                    <a:lumOff val="15000"/>
                  </a:prstClr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Until February</a:t>
            </a:r>
            <a:endParaRPr lang="he-IL" sz="10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 rot="17567952">
            <a:off x="9745020" y="2640133"/>
            <a:ext cx="1414644" cy="707886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>
              <a:defRPr/>
            </a:pPr>
            <a:r>
              <a:rPr lang="en-US" sz="20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X</a:t>
            </a:r>
            <a:r>
              <a:rPr lang="en-US" sz="32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 </a:t>
            </a:r>
            <a:r>
              <a:rPr lang="en-US" sz="4000">
                <a:ln w="28575">
                  <a:solidFill>
                    <a:prstClr val="black"/>
                  </a:solidFill>
                </a:ln>
                <a:solidFill>
                  <a:prstClr val="black"/>
                </a:solidFill>
                <a:latin typeface="Kristen ITC" panose="03050502040202030202" pitchFamily="66" charset="0"/>
                <a:cs typeface="Lucida Sans Unicode" panose="020B0602030504020204" pitchFamily="34" charset="0"/>
              </a:rPr>
              <a:t>3.7</a:t>
            </a:r>
            <a:endParaRPr lang="he-IL" sz="2400">
              <a:ln w="28575">
                <a:solidFill>
                  <a:prstClr val="black"/>
                </a:solidFill>
              </a:ln>
              <a:solidFill>
                <a:prstClr val="black"/>
              </a:solidFill>
              <a:latin typeface="Kristen ITC" panose="03050502040202030202" pitchFamily="66" charset="0"/>
              <a:cs typeface="Lucida Sans Unicode" panose="020B0602030504020204" pitchFamily="34" charset="0"/>
            </a:endParaRPr>
          </a:p>
        </p:txBody>
      </p:sp>
      <p:sp>
        <p:nvSpPr>
          <p:cNvPr id="12" name="חץ ימינה 11"/>
          <p:cNvSpPr/>
          <p:nvPr/>
        </p:nvSpPr>
        <p:spPr>
          <a:xfrm rot="17255187">
            <a:off x="9893100" y="3701622"/>
            <a:ext cx="490971" cy="302083"/>
          </a:xfrm>
          <a:prstGeom prst="rightArrow">
            <a:avLst/>
          </a:prstGeom>
          <a:solidFill>
            <a:srgbClr val="F7BF34"/>
          </a:solidFill>
          <a:ln>
            <a:solidFill>
              <a:srgbClr val="F7B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3" name="חץ ימינה 12"/>
          <p:cNvSpPr/>
          <p:nvPr/>
        </p:nvSpPr>
        <p:spPr>
          <a:xfrm rot="17388961">
            <a:off x="10509909" y="1975936"/>
            <a:ext cx="490971" cy="302083"/>
          </a:xfrm>
          <a:prstGeom prst="rightArrow">
            <a:avLst/>
          </a:prstGeom>
          <a:solidFill>
            <a:srgbClr val="F7BF34"/>
          </a:solidFill>
          <a:ln>
            <a:solidFill>
              <a:srgbClr val="F7BF3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he-IL">
              <a:solidFill>
                <a:prstClr val="white"/>
              </a:solidFill>
            </a:endParaRPr>
          </a:p>
        </p:txBody>
      </p:sp>
      <p:sp>
        <p:nvSpPr>
          <p:cNvPr id="10" name="מלבן 9"/>
          <p:cNvSpPr/>
          <p:nvPr/>
        </p:nvSpPr>
        <p:spPr>
          <a:xfrm>
            <a:off x="4211960" y="6669360"/>
            <a:ext cx="720080" cy="1886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00" dirty="0" smtClean="0">
              <a:solidFill>
                <a:schemeClr val="tx1"/>
              </a:solidFill>
            </a:endParaRPr>
          </a:p>
          <a:p>
            <a:pPr algn="ctr"/>
            <a:r>
              <a:rPr lang="en-US" sz="800" dirty="0" smtClean="0">
                <a:solidFill>
                  <a:schemeClr val="tx1"/>
                </a:solidFill>
              </a:rPr>
              <a:t>Unclassified</a:t>
            </a:r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4" name="מלבן 13"/>
          <p:cNvSpPr/>
          <p:nvPr/>
        </p:nvSpPr>
        <p:spPr>
          <a:xfrm>
            <a:off x="18270" y="6098034"/>
            <a:ext cx="9125730" cy="759966"/>
          </a:xfrm>
          <a:prstGeom prst="rect">
            <a:avLst/>
          </a:prstGeom>
          <a:solidFill>
            <a:schemeClr val="accent3">
              <a:lumMod val="75000"/>
              <a:alpha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 rtl="0"/>
            <a:r>
              <a:rPr lang="en-US" sz="2000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</a:t>
            </a:r>
            <a:r>
              <a:rPr lang="en-US" sz="20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expenditure </a:t>
            </a:r>
            <a:r>
              <a:rPr lang="en-US" sz="2000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of </a:t>
            </a:r>
            <a:r>
              <a:rPr lang="en-US" sz="20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the campaign between wars</a:t>
            </a:r>
            <a:endParaRPr lang="en-US" sz="20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  <a:p>
            <a:pPr algn="ctr" rtl="0"/>
            <a:r>
              <a:rPr lang="en-US" sz="2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 </a:t>
            </a:r>
            <a:r>
              <a:rPr lang="en-US" sz="2000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in 2018 </a:t>
            </a:r>
            <a:r>
              <a:rPr lang="en-US" sz="20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is almost </a:t>
            </a:r>
            <a:r>
              <a:rPr lang="en-US" sz="24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ucida Sans Unicode" panose="020B0602030504020204" pitchFamily="34" charset="0"/>
                <a:cs typeface="Lucida Sans Unicode" panose="020B0602030504020204" pitchFamily="34" charset="0"/>
              </a:rPr>
              <a:t>4 times </a:t>
            </a:r>
            <a:r>
              <a:rPr lang="en-US" sz="2000" dirty="0" smtClean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higher than </a:t>
            </a:r>
            <a:r>
              <a:rPr lang="en-US" sz="2000" dirty="0">
                <a:ln w="19050">
                  <a:solidFill>
                    <a:prstClr val="white"/>
                  </a:solidFill>
                </a:ln>
                <a:solidFill>
                  <a:prstClr val="white"/>
                </a:solidFill>
                <a:latin typeface="Lucida Sans Unicode" panose="020B0602030504020204" pitchFamily="34" charset="0"/>
                <a:cs typeface="Lucida Sans Unicode" panose="020B0602030504020204" pitchFamily="34" charset="0"/>
              </a:rPr>
              <a:t>in 2017</a:t>
            </a:r>
            <a:endParaRPr lang="he-IL" sz="2400" dirty="0">
              <a:ln w="19050">
                <a:solidFill>
                  <a:prstClr val="white"/>
                </a:solidFill>
              </a:ln>
              <a:solidFill>
                <a:prstClr val="white"/>
              </a:solidFill>
              <a:latin typeface="Lucida Sans Unicode" panose="020B0602030504020204" pitchFamily="34" charset="0"/>
              <a:cs typeface="Lucida Sans Unicode" panose="020B0602030504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2277876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4.0.30319.18449"/>
  <p:tag name="AS_OS" val="Microsoft Windows NT 6.2.9200.0"/>
  <p:tag name="AS_RELEASE_DATE" val="2018.07.12"/>
  <p:tag name="AS_TITLE" val="Aspose.Slides for .NET 2.0"/>
  <p:tag name="AS_VERSION" val="18.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6kyjOYSIWS2mYKm1VC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mFv9m400SUQcFh6idHu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S087fB.EqttXby1Oi0S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XZBGukjEu9Vwj047H3l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AGuaqqP0e8cQTip.L7Q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1kaErZ1kuVQEpt3YmMC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u88AFb102ScpI6KTX7k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fgsS1ASEuSFEvGIuFrO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_PfNhKL0O1qrjewETgo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rx3DMgJU2G9pPWT51ia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iW0Onk0SoyDjZIEC0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tUwlrHSDyoYX_IzQTKN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CmkbP0X0.Jru5CPC2kj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7g6igauE.sS.77oujRS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vZWfP1hU21vBtKa3oNZ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ff3WDqV0WwiwZO3_j4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4JoSVbc0O0bMTEGJpJq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rILT26E0ilvFD8G0IKW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Hq9hnm9UGD1o5jk2PHr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uqpoFRdkmP25y9KUDK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XYNyc31UWjY_EtU52yG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jlD4SY7Eet9ILRM_Im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pHAr9UT2KI6g5tnJL72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GgwQ6.Uk.f0Wua2DC65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X73m.SeUq8.N_tImL1B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.eIUxEkSWWpuPKbBL5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ps7E4Be0muEOzeoji04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LVvj7e1kisGupNI_1_c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QtihvlhUiQ6UK1I9dY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GvYwWTD02c1bI1pWj_t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1ZzcJW.Uiy2jh2B8nH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9_fD1kaFk..Jv4PgcYGF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4gur3yQZyDf8ZTB2CY9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vQMddsRGeO.iQbPi1X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nSklFRxmxqMTSq1e8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0RhBzRQ0eR5lJGoW1U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FF.4jeQuGB7t6ZMe3m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jywJTSQiuzkTeNe_3k9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Bg1lmaR9Cb6HW5C0WB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IqPAM_ZUSkkq9TxwJC2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F6n28FQsaiRowegx9E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SwcIxqRLyyPPkHRfsR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LSJmFESYaTO9R0im_q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PP7o5JQ9OXkjCqGafs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0W1YhoTYK.QMW99v6Q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jPFFtuR1mLgIZKA7Uww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_.rrOwTQU.OBwWdxBP3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onLr.FTTONrDJ056fz6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OsqmVROaCYQmY.Cf86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Nzd7pNS.e9j_ZK.fa.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O2gf9wSq6IzhI0iDiXS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FBt1MxTcOf5Qws2msM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iQJ0cpTsK0X90trtN2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NwV55eQvyCojmz_jI1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HvY75wQWq32sWawE1dd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Vj61.zR6qiC8D5jXPxg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XZ6fO7SX2mCZi4n86eg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l05e.ARa6Pi2piee9aG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IRTej3RTHyzWWxrtY8x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ktBPzhR4CMGlCoTX_p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8fPG7ZYRUehBXj8ypM_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DjFedATFKKAB8tQTTG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kMWu6rRq6qdyPaqPWr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rJeZ0dQSmpna_ttpPO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bJcRHURF2YofZcbjmAB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puPgF3RSaY7tY_B_nh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3tuXXdR7uosAWvqBJm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2CRGTxTYqxarVVZemy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ghnJ8GQ4W4zaEtmGjff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WH1E_Tri09PyDDj8h_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pqNYfdQ22ULd1RcABRM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9ulRTASOCmWPewXVpE5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xfML4zScSgEvoCTxIdN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Z1vTzRSKxVYjlDbaq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ML11tdTriROuf.yzig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hejmtBSvGegtr5zxMa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nO4KwhRme9g0WI7yE0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.rpk_DRLORT7W2tgZ8v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iJQpSvRHKdSl_98oOtX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nv38kYRiWFqti1B8gb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bISED3Srq99VFU_uCE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bsqbcYQh2haEAu2zFOW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zqC6fqQQWuRKFTevwz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X0GxqYSlKVmfLVidPI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qkl4ljTkCE.GgZIgv3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NA9fO9ROCRKOeZKAvK4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3yy953SfmCuWvRBkYlr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77wQP.RBug2mF1MPDJ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K_bpeyTTiYs.3El6Vd7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rkG7QySYuHJKqHWR1r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Q2iWgMp0C7KYB7XL.M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MVnEOlJ0ecP3RYHttq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vXPURMdEaODpUBXiZZ4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GXatk7e0SvGj4wmGbyX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9OOaP4RpGE0kzpsSjfd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oj2_zceUeCxvStcB9A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Mp4xejSkyvQHnlnYQs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6HzgAX6OkucOAA9VG0P7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tgVvc3nEWseJiT3gbA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u9gWIP0uTRdrwb2rZ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JzVuOMzEaiKGiUkKyF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2JoNMZwkmYrXhIZd9X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rvAbgaSkCK0eLIKq1Eq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u7rN9K6EmHwS6gMP.I6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CMvKVq0OyY9xU9mXlH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ezv9XFQqq3gM6tvaJ.b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7SIXbuokaMAblpmycP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NRQKost0yPTZ531835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ssWQoL_E.JSnCkTvCG_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Knzm6gtUKJ1y23rrjC2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vhNiEcIEmHFd0f3_l6r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e21SQxbEKxrC2PCq3fz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xY5iIa2EipxBzJtN9O.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fkLoRbEEaa8X3vjAPID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HktjVzR0W2xXQwHe6kE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ElvGs9Q0a55CvUIDYaK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OsElBgRZGVVnMxdjFtD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oYluZ0yUecNkq.2KQ4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6Ry_irmkOGF8y_PfqE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_xS48thU.QrnnuwR7FR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f9ga2EzkyvxSA7wW0Ze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njN8Mj_kWGuuv5s7mdG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2BE2PqrEK5hknaA5JBh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lnMJQmGESxYrIxNTJI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WMRGEdsU6TDsYxUdBu6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z0eCJsMk6muyKqd8G8H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Q_mPuF0uNXdx_DBvE.A"/>
</p:tagLst>
</file>

<file path=ppt/theme/theme1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ערכת נושא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Arial"/>
        <a:cs typeface="Arial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Arial"/>
      <a:cs typeface="Arial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endTransfer xmlns="c3dca533-93a8-46de-bb9e-a4c577e95a43" xsi:nil="true"/>
    <AuditLog xmlns="c3dca533-93a8-46de-bb9e-a4c577e95a43" xsi:nil="true"/>
    <lf64d19c3d8c49b8b926aa507be0f174 xmlns="e07400ad-5957-4d18-a25e-52aaf05645ed">
      <Terms xmlns="http://schemas.microsoft.com/office/infopath/2007/PartnerControls"/>
    </lf64d19c3d8c49b8b926aa507be0f174>
    <SendTo xmlns="c3dca533-93a8-46de-bb9e-a4c577e95a43" xsi:nil="true"/>
    <DocumentDate xmlns="c3dca533-93a8-46de-bb9e-a4c577e95a43" xsi:nil="true"/>
    <DocumentPriority xmlns="c3dca533-93a8-46de-bb9e-a4c577e95a43">רגיל</DocumentPriority>
    <TaxCatchAll xmlns="e07400ad-5957-4d18-a25e-52aaf05645ed"/>
    <o4d75bf071564ba6b95fd01edc3d8df1 xmlns="e07400ad-5957-4d18-a25e-52aaf05645ed">
      <Terms xmlns="http://schemas.microsoft.com/office/infopath/2007/PartnerControls"/>
    </o4d75bf071564ba6b95fd01edc3d8df1>
    <n05492c176cb4f8489a20ae264d17be1 xmlns="e07400ad-5957-4d18-a25e-52aaf05645ed">
      <Terms xmlns="http://schemas.microsoft.com/office/infopath/2007/PartnerControls"/>
    </n05492c176cb4f8489a20ae264d17be1>
    <Sensitivity xmlns="c3dca533-93a8-46de-bb9e-a4c577e95a43">ללא</Sensitivity>
    <SimpleTags xmlns="c3dca533-93a8-46de-bb9e-a4c577e95a43" xsi:nil="true"/>
    <NatavRecipeints xmlns="c3dca533-93a8-46de-bb9e-a4c577e95a43" xsi:nil="true"/>
    <lc20a2b2ba224e4598c48b2d75bad378 xmlns="e07400ad-5957-4d18-a25e-52aaf05645ed">
      <Terms xmlns="http://schemas.microsoft.com/office/infopath/2007/PartnerControls"/>
    </lc20a2b2ba224e4598c48b2d75bad378>
    <DocumentStatus xmlns="c3dca533-93a8-46de-bb9e-a4c577e95a43">טיוטא</DocumentStatus>
    <Classification xmlns="c3dca533-93a8-46de-bb9e-a4c577e95a43">רשום בגוף המסמך</Classification>
    <Signature xmlns="c3dca533-93a8-46de-bb9e-a4c577e95a43" xsi:nil="true"/>
    <SendCc xmlns="c3dca533-93a8-46de-bb9e-a4c577e95a43" xsi:nil="true"/>
    <TransferInfo xmlns="c3dca533-93a8-46de-bb9e-a4c577e95a4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נכנס" ma:contentTypeID="0x01010079C0079A5D954343B46314414ADBF734000ED7EA8B49F3024A8C3E16E46060E17D" ma:contentTypeVersion="83" ma:contentTypeDescription="שם סוג התוכן שונה על מנת שיעבוד עם תוספי אופיס של נת&quot;ב" ma:contentTypeScope="" ma:versionID="1593f8584e0692303463b98e1d048616">
  <xsd:schema xmlns:xsd="http://www.w3.org/2001/XMLSchema" xmlns:xs="http://www.w3.org/2001/XMLSchema" xmlns:p="http://schemas.microsoft.com/office/2006/metadata/properties" xmlns:ns2="c3dca533-93a8-46de-bb9e-a4c577e95a43" xmlns:ns3="e07400ad-5957-4d18-a25e-52aaf05645ed" targetNamespace="http://schemas.microsoft.com/office/2006/metadata/properties" ma:root="true" ma:fieldsID="b61f7ad4e8783c69443184ad503637f2" ns2:_="" ns3:_="">
    <xsd:import namespace="c3dca533-93a8-46de-bb9e-a4c577e95a43"/>
    <xsd:import namespace="e07400ad-5957-4d18-a25e-52aaf05645ed"/>
    <xsd:element name="properties">
      <xsd:complexType>
        <xsd:sequence>
          <xsd:element name="documentManagement">
            <xsd:complexType>
              <xsd:all>
                <xsd:element ref="ns2:DocumentStatus" minOccurs="0"/>
                <xsd:element ref="ns2:DocumentDate" minOccurs="0"/>
                <xsd:element ref="ns2:Signature" minOccurs="0"/>
                <xsd:element ref="ns2:Classification" minOccurs="0"/>
                <xsd:element ref="ns2:Sensitivity" minOccurs="0"/>
                <xsd:element ref="ns2:DocumentPriority" minOccurs="0"/>
                <xsd:element ref="ns2:SimpleTags" minOccurs="0"/>
                <xsd:element ref="ns2:SendTo" minOccurs="0"/>
                <xsd:element ref="ns2:SendCc" minOccurs="0"/>
                <xsd:element ref="ns2:SendTransfer" minOccurs="0"/>
                <xsd:element ref="ns2:AuditLog" minOccurs="0"/>
                <xsd:element ref="ns2:TransferInfo" minOccurs="0"/>
                <xsd:element ref="ns2:NatavRecipeints" minOccurs="0"/>
                <xsd:element ref="ns3:n05492c176cb4f8489a20ae264d17be1" minOccurs="0"/>
                <xsd:element ref="ns3:TaxCatchAll" minOccurs="0"/>
                <xsd:element ref="ns3:TaxCatchAllLabel" minOccurs="0"/>
                <xsd:element ref="ns3:lc20a2b2ba224e4598c48b2d75bad378" minOccurs="0"/>
                <xsd:element ref="ns3:lf64d19c3d8c49b8b926aa507be0f174" minOccurs="0"/>
                <xsd:element ref="ns3:o4d75bf071564ba6b95fd01edc3d8df1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dca533-93a8-46de-bb9e-a4c577e95a43" elementFormDefault="qualified">
    <xsd:import namespace="http://schemas.microsoft.com/office/2006/documentManagement/types"/>
    <xsd:import namespace="http://schemas.microsoft.com/office/infopath/2007/PartnerControls"/>
    <xsd:element name="DocumentStatus" ma:index="8" nillable="true" ma:displayName="סטטוס המסמך" ma:default="טיוטא" ma:hidden="true" ma:internalName="DocumentStatus" ma:readOnly="false">
      <xsd:simpleType>
        <xsd:restriction base="dms:Choice">
          <xsd:enumeration value="טיוטא"/>
          <xsd:enumeration value="הופץ"/>
        </xsd:restriction>
      </xsd:simpleType>
    </xsd:element>
    <xsd:element name="DocumentDate" ma:index="9" nillable="true" ma:displayName="תאריך מסמך" ma:description="תאריך המסמך" ma:format="DateOnly" ma:internalName="DocumentDate" ma:readOnly="false">
      <xsd:simpleType>
        <xsd:restriction base="dms:DateTime"/>
      </xsd:simpleType>
    </xsd:element>
    <xsd:element name="Signature" ma:index="10" nillable="true" ma:displayName="חותם / מאת" ma:internalName="Signature" ma:readOnly="false">
      <xsd:simpleType>
        <xsd:restriction base="dms:Text"/>
      </xsd:simpleType>
    </xsd:element>
    <xsd:element name="Classification" ma:index="11" nillable="true" ma:displayName="סיווג ביטחוני" ma:default="רשום בגוף המסמך" ma:internalName="Classification" ma:readOnly="false">
      <xsd:simpleType>
        <xsd:restriction base="dms:Choice">
          <xsd:enumeration value="בלמ&quot;ס"/>
          <xsd:enumeration value="שמור"/>
          <xsd:enumeration value="רשום בגוף המסמך"/>
        </xsd:restriction>
      </xsd:simpleType>
    </xsd:element>
    <xsd:element name="Sensitivity" ma:index="12" nillable="true" ma:displayName="סיווג רגישות" ma:default="ללא" ma:internalName="Sensitivity" ma:readOnly="false">
      <xsd:simpleType>
        <xsd:restriction base="dms:Choice">
          <xsd:enumeration value="ללא"/>
          <xsd:enumeration value="רגיש"/>
          <xsd:enumeration value="רגיש מאוד"/>
        </xsd:restriction>
      </xsd:simpleType>
    </xsd:element>
    <xsd:element name="DocumentPriority" ma:index="13" nillable="true" ma:displayName="עדיפות המסמך" ma:default="רגיל" ma:format="Dropdown" ma:internalName="DocumentPriority" ma:readOnly="false">
      <xsd:simpleType>
        <xsd:restriction base="dms:Choice">
          <xsd:enumeration value="ללא"/>
          <xsd:enumeration value="רגיל"/>
          <xsd:enumeration value="דחוף"/>
          <xsd:enumeration value="בהול"/>
        </xsd:restriction>
      </xsd:simpleType>
    </xsd:element>
    <xsd:element name="SimpleTags" ma:index="14" nillable="true" ma:displayName="תגיות בסיסי" ma:internalName="SimpleTags" ma:readOnly="false">
      <xsd:simpleType>
        <xsd:restriction base="dms:Text"/>
      </xsd:simpleType>
    </xsd:element>
    <xsd:element name="SendTo" ma:index="15" nillable="true" ma:displayName="נמענים לפעולה" ma:hidden="true" ma:internalName="SendTo" ma:readOnly="false">
      <xsd:simpleType>
        <xsd:restriction base="dms:Note"/>
      </xsd:simpleType>
    </xsd:element>
    <xsd:element name="SendCc" ma:index="16" nillable="true" ma:displayName="נמענים לידיעה" ma:hidden="true" ma:internalName="SendCc" ma:readOnly="false">
      <xsd:simpleType>
        <xsd:restriction base="dms:Note"/>
      </xsd:simpleType>
    </xsd:element>
    <xsd:element name="SendTransfer" ma:index="17" nillable="true" ma:displayName="נמענים להעברה לטיפול" ma:hidden="true" ma:internalName="SendTransfer" ma:readOnly="false">
      <xsd:simpleType>
        <xsd:restriction base="dms:Note"/>
      </xsd:simpleType>
    </xsd:element>
    <xsd:element name="AuditLog" ma:index="18" nillable="true" ma:displayName="היסטוריית פעילות" ma:hidden="true" ma:internalName="AuditLog" ma:readOnly="false">
      <xsd:simpleType>
        <xsd:restriction base="dms:Note"/>
      </xsd:simpleType>
    </xsd:element>
    <xsd:element name="TransferInfo" ma:index="19" nillable="true" ma:displayName="מידע הסבה" ma:hidden="true" ma:internalName="TransferInfo" ma:readOnly="false">
      <xsd:simpleType>
        <xsd:restriction base="dms:Note"/>
      </xsd:simpleType>
    </xsd:element>
    <xsd:element name="NatavRecipeints" ma:index="20" nillable="true" ma:displayName="נמעני נתב" ma:hidden="true" ma:internalName="NatavRecipeints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7400ad-5957-4d18-a25e-52aaf05645ed" elementFormDefault="qualified">
    <xsd:import namespace="http://schemas.microsoft.com/office/2006/documentManagement/types"/>
    <xsd:import namespace="http://schemas.microsoft.com/office/infopath/2007/PartnerControls"/>
    <xsd:element name="n05492c176cb4f8489a20ae264d17be1" ma:index="21" nillable="true" ma:taxonomy="true" ma:internalName="n05492c176cb4f8489a20ae264d17be1" ma:taxonomyFieldName="mmdd" ma:displayName="תגיות - תחומים מקצועיים" ma:default="" ma:fieldId="{705492c1-76cb-4f84-89a2-0ae264d17be1}" ma:taxonomyMulti="true" ma:sspId="88353701-5ead-4edf-9d79-347baa61eb74" ma:termSetId="a36f5826-1407-4d3a-923d-ad39c7e7bc7a" ma:anchorId="dfc688a7-72e9-4db3-b437-058c2f186569" ma:open="false" ma:isKeyword="fals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b04bea45-73dd-422b-a5a1-b7631c6d2c18}" ma:internalName="TaxCatchAll" ma:showField="CatchAllData" ma:web="e07400ad-5957-4d18-a25e-52aaf05645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23" nillable="true" ma:displayName="Taxonomy Catch All Column1" ma:hidden="true" ma:list="{b04bea45-73dd-422b-a5a1-b7631c6d2c18}" ma:internalName="TaxCatchAllLabel" ma:readOnly="true" ma:showField="CatchAllDataLabel" ma:web="e07400ad-5957-4d18-a25e-52aaf05645e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lc20a2b2ba224e4598c48b2d75bad378" ma:index="25" nillable="true" ma:taxonomy="true" ma:internalName="lc20a2b2ba224e4598c48b2d75bad378" ma:taxonomyFieldName="mmda" ma:displayName="תגיות - גופים חיצוניים" ma:default="" ma:fieldId="{5c20a2b2-ba22-4e45-98c4-8b2d75bad378}" ma:taxonomyMulti="true" ma:sspId="88353701-5ead-4edf-9d79-347baa61eb74" ma:termSetId="a36f5826-1407-4d3a-923d-ad39c7e7bc7a" ma:anchorId="d27b280b-f746-4bdd-8233-65aba5564d21" ma:open="false" ma:isKeyword="false">
      <xsd:complexType>
        <xsd:sequence>
          <xsd:element ref="pc:Terms" minOccurs="0" maxOccurs="1"/>
        </xsd:sequence>
      </xsd:complexType>
    </xsd:element>
    <xsd:element name="lf64d19c3d8c49b8b926aa507be0f174" ma:index="27" nillable="true" ma:taxonomy="true" ma:internalName="lf64d19c3d8c49b8b926aa507be0f174" ma:taxonomyFieldName="mmdc" ma:displayName="תגיות - סוג המסמך" ma:default="" ma:fieldId="{5f64d19c-3d8c-49b8-b926-aa507be0f174}" ma:taxonomyMulti="true" ma:sspId="88353701-5ead-4edf-9d79-347baa61eb74" ma:termSetId="a36f5826-1407-4d3a-923d-ad39c7e7bc7a" ma:anchorId="f1f44728-a657-4db3-947b-3eed4cf90def" ma:open="false" ma:isKeyword="false">
      <xsd:complexType>
        <xsd:sequence>
          <xsd:element ref="pc:Terms" minOccurs="0" maxOccurs="1"/>
        </xsd:sequence>
      </xsd:complexType>
    </xsd:element>
    <xsd:element name="o4d75bf071564ba6b95fd01edc3d8df1" ma:index="29" nillable="true" ma:taxonomy="true" ma:internalName="o4d75bf071564ba6b95fd01edc3d8df1" ma:taxonomyFieldName="mmdb" ma:displayName="תגיות - פעילויות אגפיות" ma:default="" ma:fieldId="{84d75bf0-7156-4ba6-b95f-d01edc3d8df1}" ma:taxonomyMulti="true" ma:sspId="88353701-5ead-4edf-9d79-347baa61eb74" ma:termSetId="a36f5826-1407-4d3a-923d-ad39c7e7bc7a" ma:anchorId="5d91322c-e2d2-4633-b7a6-afe9bdbd3b1c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סוג תוכן"/>
        <xsd:element ref="dc:title" minOccurs="0" maxOccurs="1" ma:index="4" ma:displayName="כותרת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CA365E9-FFC9-4197-8154-B5A8525C5C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1ED6217-BB5C-4D29-8D6A-3EB8FFFF9DB0}">
  <ds:schemaRefs>
    <ds:schemaRef ds:uri="e07400ad-5957-4d18-a25e-52aaf05645ed"/>
    <ds:schemaRef ds:uri="http://www.w3.org/XML/1998/namespace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c3dca533-93a8-46de-bb9e-a4c577e95a43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9BC8A2B-0A9C-4663-BB55-2A73E0886F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3dca533-93a8-46de-bb9e-a4c577e95a43"/>
    <ds:schemaRef ds:uri="e07400ad-5957-4d18-a25e-52aaf05645e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9</TotalTime>
  <Words>2044</Words>
  <Application>Microsoft Office PowerPoint</Application>
  <PresentationFormat>‫הצגה על המסך (4:3)</PresentationFormat>
  <Paragraphs>588</Paragraphs>
  <Slides>47</Slides>
  <Notes>10</Notes>
  <HiddenSlides>0</HiddenSlides>
  <MMClips>0</MMClips>
  <ScaleCrop>false</ScaleCrop>
  <HeadingPairs>
    <vt:vector size="4" baseType="variant">
      <vt:variant>
        <vt:lpstr>ערכת נושא</vt:lpstr>
      </vt:variant>
      <vt:variant>
        <vt:i4>1</vt:i4>
      </vt:variant>
      <vt:variant>
        <vt:lpstr>כותרות שקופיות</vt:lpstr>
      </vt:variant>
      <vt:variant>
        <vt:i4>47</vt:i4>
      </vt:variant>
    </vt:vector>
  </HeadingPairs>
  <TitlesOfParts>
    <vt:vector size="48" baseType="lpstr">
      <vt:lpstr>ערכת נושא Office</vt:lpstr>
      <vt:lpstr>שקופית 1</vt:lpstr>
      <vt:lpstr>שקופית 2</vt:lpstr>
      <vt:lpstr>שקופית 3</vt:lpstr>
      <vt:lpstr>שקופית 4</vt:lpstr>
      <vt:lpstr>שקופית 5</vt:lpstr>
      <vt:lpstr>שקופית 6</vt:lpstr>
      <vt:lpstr>שקופית 7</vt:lpstr>
      <vt:lpstr>שקופית 8</vt:lpstr>
      <vt:lpstr>שקופית 9</vt:lpstr>
      <vt:lpstr>שקופית 10</vt:lpstr>
      <vt:lpstr>שקופית 11</vt:lpstr>
      <vt:lpstr>שקופית 12</vt:lpstr>
      <vt:lpstr>שקופית 13</vt:lpstr>
      <vt:lpstr>שקופית 14</vt:lpstr>
      <vt:lpstr>שקופית 15</vt:lpstr>
      <vt:lpstr>שקופית 16</vt:lpstr>
      <vt:lpstr>שקופית 17</vt:lpstr>
      <vt:lpstr>שקופית 18</vt:lpstr>
      <vt:lpstr>שקופית 19</vt:lpstr>
      <vt:lpstr>שקופית 20</vt:lpstr>
      <vt:lpstr>שקופית 21</vt:lpstr>
      <vt:lpstr>Walking On a Thin Line</vt:lpstr>
      <vt:lpstr>שקופית 23</vt:lpstr>
      <vt:lpstr>שקופית 24</vt:lpstr>
      <vt:lpstr>שקופית 25</vt:lpstr>
      <vt:lpstr>שקופית 26</vt:lpstr>
      <vt:lpstr>שקופית 27</vt:lpstr>
      <vt:lpstr>שקופית 28</vt:lpstr>
      <vt:lpstr>שקופית 29</vt:lpstr>
      <vt:lpstr>שקופית 30</vt:lpstr>
      <vt:lpstr>שקופית 31</vt:lpstr>
      <vt:lpstr>שקופית 32</vt:lpstr>
      <vt:lpstr>Connecting Tanks to Electricity</vt:lpstr>
      <vt:lpstr>שקופית 34</vt:lpstr>
      <vt:lpstr>שקופית 35</vt:lpstr>
      <vt:lpstr>שקופית 36</vt:lpstr>
      <vt:lpstr>שקופית 37</vt:lpstr>
      <vt:lpstr>שקופית 38</vt:lpstr>
      <vt:lpstr>שקופית 39</vt:lpstr>
      <vt:lpstr>שקופית 40</vt:lpstr>
      <vt:lpstr>שקופית 41</vt:lpstr>
      <vt:lpstr>שקופית 42</vt:lpstr>
      <vt:lpstr>שקופית 43</vt:lpstr>
      <vt:lpstr>שקופית 44</vt:lpstr>
      <vt:lpstr>שקופית 45</vt:lpstr>
      <vt:lpstr>שקופית 46</vt:lpstr>
      <vt:lpstr>שקופית 4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מצגת של PowerPoint</dc:title>
  <dc:creator>int</dc:creator>
  <cp:lastModifiedBy>u45414</cp:lastModifiedBy>
  <cp:revision>60</cp:revision>
  <cp:lastPrinted>2019-04-11T12:59:48Z</cp:lastPrinted>
  <dcterms:created xsi:type="dcterms:W3CDTF">2019-04-04T05:54:17Z</dcterms:created>
  <dcterms:modified xsi:type="dcterms:W3CDTF">2019-04-17T11:42:39Z</dcterms:modified>
</cp:coreProperties>
</file>